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2.xml" ContentType="application/vnd.openxmlformats-officedocument.theme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heme/theme3.xml" ContentType="application/vnd.openxmlformats-officedocument.theme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theme/theme4.xml" ContentType="application/vnd.openxmlformats-officedocument.theme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theme/theme5.xml" ContentType="application/vnd.openxmlformats-officedocument.theme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theme/theme6.xml" ContentType="application/vnd.openxmlformats-officedocument.theme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theme/theme7.xml" ContentType="application/vnd.openxmlformats-officedocument.theme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theme/theme8.xml" ContentType="application/vnd.openxmlformats-officedocument.theme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tags/tag26.xml" ContentType="application/vnd.openxmlformats-officedocument.presentationml.tags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drawings/drawing1.xml" ContentType="application/vnd.openxmlformats-officedocument.drawingml.chartshapes+xml"/>
  <Override PartName="/ppt/tags/tag27.xml" ContentType="application/vnd.openxmlformats-officedocument.presentationml.tags+xml"/>
  <Override PartName="/ppt/notesSlides/notesSlide2.xml" ContentType="application/vnd.openxmlformats-officedocument.presentationml.notesSlide+xml"/>
  <Override PartName="/ppt/charts/chart7.xml" ContentType="application/vnd.openxmlformats-officedocument.drawingml.chart+xml"/>
  <Override PartName="/ppt/drawings/drawing2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webextensions/taskpanes.xml" ContentType="application/vnd.ms-office.webextensiontaskpanes+xml"/>
  <Override PartName="/ppt/webextensions/webextension1.xml" ContentType="application/vnd.ms-office.webextension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11/relationships/webextensiontaskpanes" Target="ppt/webextensions/taskpanes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68" r:id="rId4"/>
    <p:sldMasterId id="2147484527" r:id="rId5"/>
    <p:sldMasterId id="2147484590" r:id="rId6"/>
    <p:sldMasterId id="2147484649" r:id="rId7"/>
    <p:sldMasterId id="2147484721" r:id="rId8"/>
    <p:sldMasterId id="2147484737" r:id="rId9"/>
    <p:sldMasterId id="2147484753" r:id="rId10"/>
    <p:sldMasterId id="2147484769" r:id="rId11"/>
    <p:sldMasterId id="2147484784" r:id="rId12"/>
  </p:sldMasterIdLst>
  <p:notesMasterIdLst>
    <p:notesMasterId r:id="rId32"/>
  </p:notesMasterIdLst>
  <p:handoutMasterIdLst>
    <p:handoutMasterId r:id="rId33"/>
  </p:handoutMasterIdLst>
  <p:sldIdLst>
    <p:sldId id="1456" r:id="rId13"/>
    <p:sldId id="1473" r:id="rId14"/>
    <p:sldId id="1482" r:id="rId15"/>
    <p:sldId id="1483" r:id="rId16"/>
    <p:sldId id="1485" r:id="rId17"/>
    <p:sldId id="1491" r:id="rId18"/>
    <p:sldId id="1487" r:id="rId19"/>
    <p:sldId id="1488" r:id="rId20"/>
    <p:sldId id="1474" r:id="rId21"/>
    <p:sldId id="1475" r:id="rId22"/>
    <p:sldId id="1480" r:id="rId23"/>
    <p:sldId id="1481" r:id="rId24"/>
    <p:sldId id="1494" r:id="rId25"/>
    <p:sldId id="1496" r:id="rId26"/>
    <p:sldId id="1489" r:id="rId27"/>
    <p:sldId id="1492" r:id="rId28"/>
    <p:sldId id="1490" r:id="rId29"/>
    <p:sldId id="1469" r:id="rId30"/>
    <p:sldId id="1439" r:id="rId31"/>
  </p:sldIdLst>
  <p:sldSz cx="9906000" cy="6858000" type="A4"/>
  <p:notesSz cx="9296400" cy="70104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3923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orient="horz" userDrawn="1">
          <p15:clr>
            <a:srgbClr val="A4A3A4"/>
          </p15:clr>
        </p15:guide>
        <p15:guide id="4" orient="horz" pos="2208" userDrawn="1">
          <p15:clr>
            <a:srgbClr val="A4A3A4"/>
          </p15:clr>
        </p15:guide>
        <p15:guide id="5" orient="horz" pos="3960" userDrawn="1">
          <p15:clr>
            <a:srgbClr val="A4A3A4"/>
          </p15:clr>
        </p15:guide>
        <p15:guide id="6" orient="horz" pos="264" userDrawn="1">
          <p15:clr>
            <a:srgbClr val="A4A3A4"/>
          </p15:clr>
        </p15:guide>
        <p15:guide id="9" pos="160">
          <p15:clr>
            <a:srgbClr val="A4A3A4"/>
          </p15:clr>
        </p15:guide>
        <p15:guide id="10" pos="792" userDrawn="1">
          <p15:clr>
            <a:srgbClr val="A4A3A4"/>
          </p15:clr>
        </p15:guide>
        <p15:guide id="12" pos="1992" userDrawn="1">
          <p15:clr>
            <a:srgbClr val="A4A3A4"/>
          </p15:clr>
        </p15:guide>
        <p15:guide id="13" pos="2232" userDrawn="1">
          <p15:clr>
            <a:srgbClr val="A4A3A4"/>
          </p15:clr>
        </p15:guide>
        <p15:guide id="14" pos="6074">
          <p15:clr>
            <a:srgbClr val="A4A3A4"/>
          </p15:clr>
        </p15:guide>
        <p15:guide id="15" pos="408" userDrawn="1">
          <p15:clr>
            <a:srgbClr val="A4A3A4"/>
          </p15:clr>
        </p15:guide>
        <p15:guide id="16" pos="6159">
          <p15:clr>
            <a:srgbClr val="A4A3A4"/>
          </p15:clr>
        </p15:guide>
        <p15:guide id="18" orient="horz" pos="408" userDrawn="1">
          <p15:clr>
            <a:srgbClr val="A4A3A4"/>
          </p15:clr>
        </p15:guide>
        <p15:guide id="19" orient="horz" pos="1056" userDrawn="1">
          <p15:clr>
            <a:srgbClr val="A4A3A4"/>
          </p15:clr>
        </p15:guide>
        <p15:guide id="24" orient="horz" pos="456" userDrawn="1">
          <p15:clr>
            <a:srgbClr val="A4A3A4"/>
          </p15:clr>
        </p15:guide>
        <p15:guide id="25" pos="1003">
          <p15:clr>
            <a:srgbClr val="A4A3A4"/>
          </p15:clr>
        </p15:guide>
        <p15:guide id="26" pos="888" userDrawn="1">
          <p15:clr>
            <a:srgbClr val="A4A3A4"/>
          </p15:clr>
        </p15:guide>
        <p15:guide id="27" pos="768" userDrawn="1">
          <p15:clr>
            <a:srgbClr val="A4A3A4"/>
          </p15:clr>
        </p15:guide>
        <p15:guide id="28" pos="2280" userDrawn="1">
          <p15:clr>
            <a:srgbClr val="A4A3A4"/>
          </p15:clr>
        </p15:guide>
        <p15:guide id="30" pos="935">
          <p15:clr>
            <a:srgbClr val="A4A3A4"/>
          </p15:clr>
        </p15:guide>
        <p15:guide id="31" pos="696" userDrawn="1">
          <p15:clr>
            <a:srgbClr val="A4A3A4"/>
          </p15:clr>
        </p15:guide>
        <p15:guide id="32" orient="horz" pos="72" userDrawn="1">
          <p15:clr>
            <a:srgbClr val="A4A3A4"/>
          </p15:clr>
        </p15:guide>
        <p15:guide id="33" pos="528" userDrawn="1">
          <p15:clr>
            <a:srgbClr val="A4A3A4"/>
          </p15:clr>
        </p15:guide>
        <p15:guide id="34" pos="5952" userDrawn="1">
          <p15:clr>
            <a:srgbClr val="A4A3A4"/>
          </p15:clr>
        </p15:guide>
        <p15:guide id="38" orient="horz" pos="4099">
          <p15:clr>
            <a:srgbClr val="A4A3A4"/>
          </p15:clr>
        </p15:guide>
        <p15:guide id="40" pos="1944" userDrawn="1">
          <p15:clr>
            <a:srgbClr val="A4A3A4"/>
          </p15:clr>
        </p15:guide>
        <p15:guide id="41" pos="2784" userDrawn="1">
          <p15:clr>
            <a:srgbClr val="A4A3A4"/>
          </p15:clr>
        </p15:guide>
        <p15:guide id="43" pos="6058">
          <p15:clr>
            <a:srgbClr val="A4A3A4"/>
          </p15:clr>
        </p15:guide>
        <p15:guide id="44" pos="936" userDrawn="1">
          <p15:clr>
            <a:srgbClr val="A4A3A4"/>
          </p15:clr>
        </p15:guide>
        <p15:guide id="45" pos="1008">
          <p15:clr>
            <a:srgbClr val="A4A3A4"/>
          </p15:clr>
        </p15:guide>
        <p15:guide id="46" pos="6120" userDrawn="1">
          <p15:clr>
            <a:srgbClr val="A4A3A4"/>
          </p15:clr>
        </p15:guide>
        <p15:guide id="47" pos="1104" userDrawn="1">
          <p15:clr>
            <a:srgbClr val="A4A3A4"/>
          </p15:clr>
        </p15:guide>
        <p15:guide id="48" pos="2040" userDrawn="1">
          <p15:clr>
            <a:srgbClr val="A4A3A4"/>
          </p15:clr>
        </p15:guide>
        <p15:guide id="49" pos="4464" userDrawn="1">
          <p15:clr>
            <a:srgbClr val="A4A3A4"/>
          </p15:clr>
        </p15:guide>
        <p15:guide id="50" orient="horz" pos="3816" userDrawn="1">
          <p15:clr>
            <a:srgbClr val="A4A3A4"/>
          </p15:clr>
        </p15:guide>
        <p15:guide id="52" orient="horz" pos="312" userDrawn="1">
          <p15:clr>
            <a:srgbClr val="A4A3A4"/>
          </p15:clr>
        </p15:guide>
        <p15:guide id="53" orient="horz" pos="3971">
          <p15:clr>
            <a:srgbClr val="A4A3A4"/>
          </p15:clr>
        </p15:guide>
        <p15:guide id="55" pos="1037">
          <p15:clr>
            <a:srgbClr val="A4A3A4"/>
          </p15:clr>
        </p15:guide>
        <p15:guide id="56" pos="2376" userDrawn="1">
          <p15:clr>
            <a:srgbClr val="A4A3A4"/>
          </p15:clr>
        </p15:guide>
        <p15:guide id="57" pos="6057">
          <p15:clr>
            <a:srgbClr val="A4A3A4"/>
          </p15:clr>
        </p15:guide>
        <p15:guide id="58" orient="horz" pos="3528" userDrawn="1">
          <p15:clr>
            <a:srgbClr val="A4A3A4"/>
          </p15:clr>
        </p15:guide>
        <p15:guide id="59" orient="horz" pos="604">
          <p15:clr>
            <a:srgbClr val="A4A3A4"/>
          </p15:clr>
        </p15:guide>
        <p15:guide id="60" orient="horz" pos="1944" userDrawn="1">
          <p15:clr>
            <a:srgbClr val="A4A3A4"/>
          </p15:clr>
        </p15:guide>
        <p15:guide id="61" orient="horz" pos="120" userDrawn="1">
          <p15:clr>
            <a:srgbClr val="A4A3A4"/>
          </p15:clr>
        </p15:guide>
        <p15:guide id="63" orient="horz" pos="3922">
          <p15:clr>
            <a:srgbClr val="A4A3A4"/>
          </p15:clr>
        </p15:guide>
        <p15:guide id="64" orient="horz" pos="2566">
          <p15:clr>
            <a:srgbClr val="A4A3A4"/>
          </p15:clr>
        </p15:guide>
        <p15:guide id="65" orient="horz" pos="4008" userDrawn="1">
          <p15:clr>
            <a:srgbClr val="A4A3A4"/>
          </p15:clr>
        </p15:guide>
        <p15:guide id="66" pos="72">
          <p15:clr>
            <a:srgbClr val="A4A3A4"/>
          </p15:clr>
        </p15:guide>
        <p15:guide id="67" pos="6240" userDrawn="1">
          <p15:clr>
            <a:srgbClr val="A4A3A4"/>
          </p15:clr>
        </p15:guide>
        <p15:guide id="68" pos="1176" userDrawn="1">
          <p15:clr>
            <a:srgbClr val="A4A3A4"/>
          </p15:clr>
        </p15:guide>
        <p15:guide id="70" pos="1074">
          <p15:clr>
            <a:srgbClr val="A4A3A4"/>
          </p15:clr>
        </p15:guide>
        <p15:guide id="71" orient="horz" pos="3386">
          <p15:clr>
            <a:srgbClr val="A4A3A4"/>
          </p15:clr>
        </p15:guide>
        <p15:guide id="73" orient="horz" pos="504" userDrawn="1">
          <p15:clr>
            <a:srgbClr val="A4A3A4"/>
          </p15:clr>
        </p15:guide>
        <p15:guide id="74" orient="horz" pos="2640" userDrawn="1">
          <p15:clr>
            <a:srgbClr val="A4A3A4"/>
          </p15:clr>
        </p15:guide>
        <p15:guide id="75" orient="horz" pos="3696" userDrawn="1">
          <p15:clr>
            <a:srgbClr val="A4A3A4"/>
          </p15:clr>
        </p15:guide>
        <p15:guide id="76" orient="horz" pos="4018">
          <p15:clr>
            <a:srgbClr val="A4A3A4"/>
          </p15:clr>
        </p15:guide>
        <p15:guide id="77" orient="horz" pos="339">
          <p15:clr>
            <a:srgbClr val="A4A3A4"/>
          </p15:clr>
        </p15:guide>
        <p15:guide id="79" pos="2664" userDrawn="1">
          <p15:clr>
            <a:srgbClr val="A4A3A4"/>
          </p15:clr>
        </p15:guide>
        <p15:guide id="80" pos="6239">
          <p15:clr>
            <a:srgbClr val="A4A3A4"/>
          </p15:clr>
        </p15:guide>
        <p15:guide id="81" pos="816" userDrawn="1">
          <p15:clr>
            <a:srgbClr val="A4A3A4"/>
          </p15:clr>
        </p15:guide>
        <p15:guide id="82" userDrawn="1">
          <p15:clr>
            <a:srgbClr val="A4A3A4"/>
          </p15:clr>
        </p15:guide>
        <p15:guide id="85" orient="horz" pos="167">
          <p15:clr>
            <a:srgbClr val="A4A3A4"/>
          </p15:clr>
        </p15:guide>
        <p15:guide id="86" orient="horz" pos="3888" userDrawn="1">
          <p15:clr>
            <a:srgbClr val="A4A3A4"/>
          </p15:clr>
        </p15:guide>
        <p15:guide id="87" orient="horz" pos="3048" userDrawn="1">
          <p15:clr>
            <a:srgbClr val="A4A3A4"/>
          </p15:clr>
        </p15:guide>
        <p15:guide id="88" orient="horz" pos="291">
          <p15:clr>
            <a:srgbClr val="A4A3A4"/>
          </p15:clr>
        </p15:guide>
        <p15:guide id="89" pos="208">
          <p15:clr>
            <a:srgbClr val="A4A3A4"/>
          </p15:clr>
        </p15:guide>
        <p15:guide id="90" pos="123">
          <p15:clr>
            <a:srgbClr val="A4A3A4"/>
          </p15:clr>
        </p15:guide>
        <p15:guide id="91" pos="4296" userDrawn="1">
          <p15:clr>
            <a:srgbClr val="A4A3A4"/>
          </p15:clr>
        </p15:guide>
        <p15:guide id="92" pos="1177">
          <p15:clr>
            <a:srgbClr val="A4A3A4"/>
          </p15:clr>
        </p15:guide>
        <p15:guide id="93" pos="124">
          <p15:clr>
            <a:srgbClr val="A4A3A4"/>
          </p15:clr>
        </p15:guide>
        <p15:guide id="94" pos="4297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5529" userDrawn="1">
          <p15:clr>
            <a:srgbClr val="A4A3A4"/>
          </p15:clr>
        </p15:guide>
        <p15:guide id="2" orient="horz" pos="327" userDrawn="1">
          <p15:clr>
            <a:srgbClr val="A4A3A4"/>
          </p15:clr>
        </p15:guide>
        <p15:guide id="3" pos="219" userDrawn="1">
          <p15:clr>
            <a:srgbClr val="A4A3A4"/>
          </p15:clr>
        </p15:guide>
        <p15:guide id="4" pos="4100" userDrawn="1">
          <p15:clr>
            <a:srgbClr val="A4A3A4"/>
          </p15:clr>
        </p15:guide>
        <p15:guide id="5" orient="horz" pos="5565" userDrawn="1">
          <p15:clr>
            <a:srgbClr val="A4A3A4"/>
          </p15:clr>
        </p15:guide>
        <p15:guide id="6" orient="horz" pos="328" userDrawn="1">
          <p15:clr>
            <a:srgbClr val="A4A3A4"/>
          </p15:clr>
        </p15:guide>
        <p15:guide id="7" pos="214" userDrawn="1">
          <p15:clr>
            <a:srgbClr val="A4A3A4"/>
          </p15:clr>
        </p15:guide>
        <p15:guide id="8" pos="4011" userDrawn="1">
          <p15:clr>
            <a:srgbClr val="A4A3A4"/>
          </p15:clr>
        </p15:guide>
        <p15:guide id="9" orient="horz" pos="5493" userDrawn="1">
          <p15:clr>
            <a:srgbClr val="A4A3A4"/>
          </p15:clr>
        </p15:guide>
        <p15:guide id="10" orient="horz" pos="325" userDrawn="1">
          <p15:clr>
            <a:srgbClr val="A4A3A4"/>
          </p15:clr>
        </p15:guide>
        <p15:guide id="11" pos="224" userDrawn="1">
          <p15:clr>
            <a:srgbClr val="A4A3A4"/>
          </p15:clr>
        </p15:guide>
        <p15:guide id="12" pos="4191" userDrawn="1">
          <p15:clr>
            <a:srgbClr val="A4A3A4"/>
          </p15:clr>
        </p15:guide>
        <p15:guide id="13" orient="horz" pos="5710" userDrawn="1">
          <p15:clr>
            <a:srgbClr val="A4A3A4"/>
          </p15:clr>
        </p15:guide>
        <p15:guide id="14" orient="horz" pos="338" userDrawn="1">
          <p15:clr>
            <a:srgbClr val="A4A3A4"/>
          </p15:clr>
        </p15:guide>
        <p15:guide id="15" orient="horz" pos="5748" userDrawn="1">
          <p15:clr>
            <a:srgbClr val="A4A3A4"/>
          </p15:clr>
        </p15:guide>
        <p15:guide id="16" orient="horz" pos="340" userDrawn="1">
          <p15:clr>
            <a:srgbClr val="A4A3A4"/>
          </p15:clr>
        </p15:guide>
        <p15:guide id="17" orient="horz" pos="5673" userDrawn="1">
          <p15:clr>
            <a:srgbClr val="A4A3A4"/>
          </p15:clr>
        </p15:guide>
        <p15:guide id="18" orient="horz" pos="336" userDrawn="1">
          <p15:clr>
            <a:srgbClr val="A4A3A4"/>
          </p15:clr>
        </p15:guide>
        <p15:guide id="19" pos="234" userDrawn="1">
          <p15:clr>
            <a:srgbClr val="A4A3A4"/>
          </p15:clr>
        </p15:guide>
        <p15:guide id="20" pos="4373" userDrawn="1">
          <p15:clr>
            <a:srgbClr val="A4A3A4"/>
          </p15:clr>
        </p15:guide>
        <p15:guide id="21" pos="229" userDrawn="1">
          <p15:clr>
            <a:srgbClr val="A4A3A4"/>
          </p15:clr>
        </p15:guide>
        <p15:guide id="22" pos="4278" userDrawn="1">
          <p15:clr>
            <a:srgbClr val="A4A3A4"/>
          </p15:clr>
        </p15:guide>
        <p15:guide id="23" pos="239" userDrawn="1">
          <p15:clr>
            <a:srgbClr val="A4A3A4"/>
          </p15:clr>
        </p15:guide>
        <p15:guide id="24" pos="4470" userDrawn="1">
          <p15:clr>
            <a:srgbClr val="A4A3A4"/>
          </p15:clr>
        </p15:guide>
        <p15:guide id="25" orient="horz" pos="3950">
          <p15:clr>
            <a:srgbClr val="A4A3A4"/>
          </p15:clr>
        </p15:guide>
        <p15:guide id="26" orient="horz" pos="233">
          <p15:clr>
            <a:srgbClr val="A4A3A4"/>
          </p15:clr>
        </p15:guide>
        <p15:guide id="27" orient="horz" pos="3975">
          <p15:clr>
            <a:srgbClr val="A4A3A4"/>
          </p15:clr>
        </p15:guide>
        <p15:guide id="28" orient="horz" pos="234">
          <p15:clr>
            <a:srgbClr val="A4A3A4"/>
          </p15:clr>
        </p15:guide>
        <p15:guide id="29" orient="horz" pos="3923">
          <p15:clr>
            <a:srgbClr val="A4A3A4"/>
          </p15:clr>
        </p15:guide>
        <p15:guide id="30" orient="horz" pos="4078">
          <p15:clr>
            <a:srgbClr val="A4A3A4"/>
          </p15:clr>
        </p15:guide>
        <p15:guide id="31" orient="horz" pos="242">
          <p15:clr>
            <a:srgbClr val="A4A3A4"/>
          </p15:clr>
        </p15:guide>
        <p15:guide id="32" orient="horz" pos="4105">
          <p15:clr>
            <a:srgbClr val="A4A3A4"/>
          </p15:clr>
        </p15:guide>
        <p15:guide id="33" orient="horz" pos="243">
          <p15:clr>
            <a:srgbClr val="A4A3A4"/>
          </p15:clr>
        </p15:guide>
        <p15:guide id="34" orient="horz" pos="4052">
          <p15:clr>
            <a:srgbClr val="A4A3A4"/>
          </p15:clr>
        </p15:guide>
        <p15:guide id="35" orient="horz" pos="240">
          <p15:clr>
            <a:srgbClr val="A4A3A4"/>
          </p15:clr>
        </p15:guide>
        <p15:guide id="36" pos="297">
          <p15:clr>
            <a:srgbClr val="A4A3A4"/>
          </p15:clr>
        </p15:guide>
        <p15:guide id="37" pos="5575">
          <p15:clr>
            <a:srgbClr val="A4A3A4"/>
          </p15:clr>
        </p15:guide>
        <p15:guide id="38" pos="291">
          <p15:clr>
            <a:srgbClr val="A4A3A4"/>
          </p15:clr>
        </p15:guide>
        <p15:guide id="39" pos="5454">
          <p15:clr>
            <a:srgbClr val="A4A3A4"/>
          </p15:clr>
        </p15:guide>
        <p15:guide id="40" pos="305">
          <p15:clr>
            <a:srgbClr val="A4A3A4"/>
          </p15:clr>
        </p15:guide>
        <p15:guide id="41" pos="5699">
          <p15:clr>
            <a:srgbClr val="A4A3A4"/>
          </p15:clr>
        </p15:guide>
        <p15:guide id="42" pos="318">
          <p15:clr>
            <a:srgbClr val="A4A3A4"/>
          </p15:clr>
        </p15:guide>
        <p15:guide id="43" pos="5947">
          <p15:clr>
            <a:srgbClr val="A4A3A4"/>
          </p15:clr>
        </p15:guide>
        <p15:guide id="44" pos="312">
          <p15:clr>
            <a:srgbClr val="A4A3A4"/>
          </p15:clr>
        </p15:guide>
        <p15:guide id="45" pos="5817">
          <p15:clr>
            <a:srgbClr val="A4A3A4"/>
          </p15:clr>
        </p15:guide>
        <p15:guide id="46" pos="325">
          <p15:clr>
            <a:srgbClr val="A4A3A4"/>
          </p15:clr>
        </p15:guide>
        <p15:guide id="47" pos="6078">
          <p15:clr>
            <a:srgbClr val="A4A3A4"/>
          </p15:clr>
        </p15:guide>
        <p15:guide id="48" orient="horz" pos="5652">
          <p15:clr>
            <a:srgbClr val="A4A3A4"/>
          </p15:clr>
        </p15:guide>
        <p15:guide id="49" orient="horz" pos="334">
          <p15:clr>
            <a:srgbClr val="A4A3A4"/>
          </p15:clr>
        </p15:guide>
        <p15:guide id="50" orient="horz" pos="5689">
          <p15:clr>
            <a:srgbClr val="A4A3A4"/>
          </p15:clr>
        </p15:guide>
        <p15:guide id="51" orient="horz" pos="335">
          <p15:clr>
            <a:srgbClr val="A4A3A4"/>
          </p15:clr>
        </p15:guide>
        <p15:guide id="52" orient="horz" pos="5615">
          <p15:clr>
            <a:srgbClr val="A4A3A4"/>
          </p15:clr>
        </p15:guide>
        <p15:guide id="53" orient="horz" pos="332">
          <p15:clr>
            <a:srgbClr val="A4A3A4"/>
          </p15:clr>
        </p15:guide>
        <p15:guide id="54" orient="horz" pos="5837">
          <p15:clr>
            <a:srgbClr val="A4A3A4"/>
          </p15:clr>
        </p15:guide>
        <p15:guide id="55" orient="horz" pos="346">
          <p15:clr>
            <a:srgbClr val="A4A3A4"/>
          </p15:clr>
        </p15:guide>
        <p15:guide id="56" orient="horz" pos="5876">
          <p15:clr>
            <a:srgbClr val="A4A3A4"/>
          </p15:clr>
        </p15:guide>
        <p15:guide id="57" orient="horz" pos="348">
          <p15:clr>
            <a:srgbClr val="A4A3A4"/>
          </p15:clr>
        </p15:guide>
        <p15:guide id="58" orient="horz" pos="5799">
          <p15:clr>
            <a:srgbClr val="A4A3A4"/>
          </p15:clr>
        </p15:guide>
        <p15:guide id="59" orient="horz" pos="343">
          <p15:clr>
            <a:srgbClr val="A4A3A4"/>
          </p15:clr>
        </p15:guide>
        <p15:guide id="60" orient="horz" pos="4038">
          <p15:clr>
            <a:srgbClr val="A4A3A4"/>
          </p15:clr>
        </p15:guide>
        <p15:guide id="61" orient="horz" pos="238">
          <p15:clr>
            <a:srgbClr val="A4A3A4"/>
          </p15:clr>
        </p15:guide>
        <p15:guide id="62" orient="horz" pos="4063">
          <p15:clr>
            <a:srgbClr val="A4A3A4"/>
          </p15:clr>
        </p15:guide>
        <p15:guide id="63" orient="horz" pos="239">
          <p15:clr>
            <a:srgbClr val="A4A3A4"/>
          </p15:clr>
        </p15:guide>
        <p15:guide id="64" orient="horz" pos="4010">
          <p15:clr>
            <a:srgbClr val="A4A3A4"/>
          </p15:clr>
        </p15:guide>
        <p15:guide id="65" orient="horz" pos="4169">
          <p15:clr>
            <a:srgbClr val="A4A3A4"/>
          </p15:clr>
        </p15:guide>
        <p15:guide id="66" orient="horz" pos="247">
          <p15:clr>
            <a:srgbClr val="A4A3A4"/>
          </p15:clr>
        </p15:guide>
        <p15:guide id="67" orient="horz" pos="4196">
          <p15:clr>
            <a:srgbClr val="A4A3A4"/>
          </p15:clr>
        </p15:guide>
        <p15:guide id="68" orient="horz" pos="248">
          <p15:clr>
            <a:srgbClr val="A4A3A4"/>
          </p15:clr>
        </p15:guide>
        <p15:guide id="69" orient="horz" pos="4142">
          <p15:clr>
            <a:srgbClr val="A4A3A4"/>
          </p15:clr>
        </p15:guide>
        <p15:guide id="70" orient="horz" pos="245">
          <p15:clr>
            <a:srgbClr val="A4A3A4"/>
          </p15:clr>
        </p15:guide>
        <p15:guide id="71" pos="205">
          <p15:clr>
            <a:srgbClr val="A4A3A4"/>
          </p15:clr>
        </p15:guide>
        <p15:guide id="72" pos="3832">
          <p15:clr>
            <a:srgbClr val="A4A3A4"/>
          </p15:clr>
        </p15:guide>
        <p15:guide id="73" pos="200">
          <p15:clr>
            <a:srgbClr val="A4A3A4"/>
          </p15:clr>
        </p15:guide>
        <p15:guide id="74" pos="3749">
          <p15:clr>
            <a:srgbClr val="A4A3A4"/>
          </p15:clr>
        </p15:guide>
        <p15:guide id="75" pos="209">
          <p15:clr>
            <a:srgbClr val="A4A3A4"/>
          </p15:clr>
        </p15:guide>
        <p15:guide id="76" pos="3917">
          <p15:clr>
            <a:srgbClr val="A4A3A4"/>
          </p15:clr>
        </p15:guide>
        <p15:guide id="77" pos="4087">
          <p15:clr>
            <a:srgbClr val="A4A3A4"/>
          </p15:clr>
        </p15:guide>
        <p15:guide id="78" pos="3998">
          <p15:clr>
            <a:srgbClr val="A4A3A4"/>
          </p15:clr>
        </p15:guide>
        <p15:guide id="79" pos="223">
          <p15:clr>
            <a:srgbClr val="A4A3A4"/>
          </p15:clr>
        </p15:guide>
        <p15:guide id="80" pos="4178">
          <p15:clr>
            <a:srgbClr val="A4A3A4"/>
          </p15:clr>
        </p15:guide>
        <p15:guide id="81" pos="278">
          <p15:clr>
            <a:srgbClr val="A4A3A4"/>
          </p15:clr>
        </p15:guide>
        <p15:guide id="82" pos="5210">
          <p15:clr>
            <a:srgbClr val="A4A3A4"/>
          </p15:clr>
        </p15:guide>
        <p15:guide id="83" pos="272">
          <p15:clr>
            <a:srgbClr val="A4A3A4"/>
          </p15:clr>
        </p15:guide>
        <p15:guide id="84" pos="5097">
          <p15:clr>
            <a:srgbClr val="A4A3A4"/>
          </p15:clr>
        </p15:guide>
        <p15:guide id="85" pos="285">
          <p15:clr>
            <a:srgbClr val="A4A3A4"/>
          </p15:clr>
        </p15:guide>
        <p15:guide id="86" pos="5326">
          <p15:clr>
            <a:srgbClr val="A4A3A4"/>
          </p15:clr>
        </p15:guide>
        <p15:guide id="87" pos="5558">
          <p15:clr>
            <a:srgbClr val="A4A3A4"/>
          </p15:clr>
        </p15:guide>
        <p15:guide id="88" pos="292">
          <p15:clr>
            <a:srgbClr val="A4A3A4"/>
          </p15:clr>
        </p15:guide>
        <p15:guide id="89" pos="5436">
          <p15:clr>
            <a:srgbClr val="A4A3A4"/>
          </p15:clr>
        </p15:guide>
        <p15:guide id="90" pos="304">
          <p15:clr>
            <a:srgbClr val="A4A3A4"/>
          </p15:clr>
        </p15:guide>
        <p15:guide id="91" pos="568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deronmu, Akorede" initials="AA" lastIdx="1" clrIdx="0"/>
  <p:cmAuthor id="1" name="Andrew  Osogbo" initials="AO" lastIdx="2" clrIdx="1">
    <p:extLst/>
  </p:cmAuthor>
  <p:cmAuthor id="2" name="Yewande Sadiku®" initials="YS" lastIdx="2" clrIdx="2">
    <p:extLst/>
  </p:cmAuthor>
  <p:cmAuthor id="3" name="Yewande Sadiku®" initials="YS [2]" lastIdx="1" clrIdx="3">
    <p:extLst/>
  </p:cmAuthor>
  <p:cmAuthor id="4" name="Yewande Sadiku®" initials="YS [3]" lastIdx="1" clrIdx="4">
    <p:extLst/>
  </p:cmAuthor>
  <p:cmAuthor id="5" name="Yewande Sadiku®" initials="YS [4]" lastIdx="1" clrIdx="5">
    <p:extLst/>
  </p:cmAuthor>
  <p:cmAuthor id="6" name="Yewande Sadiku®" initials="YS [5]" lastIdx="1" clrIdx="6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17D32"/>
    <a:srgbClr val="A0D9F6"/>
    <a:srgbClr val="080808"/>
    <a:srgbClr val="FF2600"/>
    <a:srgbClr val="CD8DCD"/>
    <a:srgbClr val="BBD392"/>
    <a:srgbClr val="02285C"/>
    <a:srgbClr val="600082"/>
    <a:srgbClr val="B399C1"/>
    <a:srgbClr val="E9AB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8491" autoAdjust="0"/>
    <p:restoredTop sz="94129" autoAdjust="0"/>
  </p:normalViewPr>
  <p:slideViewPr>
    <p:cSldViewPr snapToGrid="0">
      <p:cViewPr>
        <p:scale>
          <a:sx n="76" d="100"/>
          <a:sy n="76" d="100"/>
        </p:scale>
        <p:origin x="-58" y="230"/>
      </p:cViewPr>
      <p:guideLst>
        <p:guide orient="horz" pos="3923"/>
        <p:guide orient="horz" pos="2160"/>
        <p:guide orient="horz"/>
        <p:guide orient="horz" pos="2208"/>
        <p:guide orient="horz" pos="3960"/>
        <p:guide orient="horz" pos="264"/>
        <p:guide orient="horz" pos="408"/>
        <p:guide orient="horz" pos="1056"/>
        <p:guide orient="horz" pos="456"/>
        <p:guide orient="horz" pos="72"/>
        <p:guide orient="horz" pos="4099"/>
        <p:guide orient="horz" pos="3816"/>
        <p:guide orient="horz" pos="312"/>
        <p:guide orient="horz" pos="3971"/>
        <p:guide orient="horz" pos="3528"/>
        <p:guide orient="horz" pos="604"/>
        <p:guide orient="horz" pos="1944"/>
        <p:guide orient="horz" pos="120"/>
        <p:guide orient="horz" pos="3922"/>
        <p:guide orient="horz" pos="2566"/>
        <p:guide orient="horz" pos="4008"/>
        <p:guide orient="horz" pos="3386"/>
        <p:guide orient="horz" pos="504"/>
        <p:guide orient="horz" pos="2640"/>
        <p:guide orient="horz" pos="3696"/>
        <p:guide orient="horz" pos="4018"/>
        <p:guide orient="horz" pos="339"/>
        <p:guide orient="horz" pos="167"/>
        <p:guide orient="horz" pos="3888"/>
        <p:guide orient="horz" pos="3048"/>
        <p:guide orient="horz" pos="291"/>
        <p:guide pos="160"/>
        <p:guide pos="792"/>
        <p:guide pos="1992"/>
        <p:guide pos="2232"/>
        <p:guide pos="6074"/>
        <p:guide pos="408"/>
        <p:guide pos="6159"/>
        <p:guide pos="1003"/>
        <p:guide pos="888"/>
        <p:guide pos="768"/>
        <p:guide pos="2280"/>
        <p:guide pos="935"/>
        <p:guide pos="696"/>
        <p:guide pos="528"/>
        <p:guide pos="5952"/>
        <p:guide pos="1944"/>
        <p:guide pos="2784"/>
        <p:guide pos="6058"/>
        <p:guide pos="936"/>
        <p:guide pos="1008"/>
        <p:guide pos="6120"/>
        <p:guide pos="1104"/>
        <p:guide pos="2040"/>
        <p:guide pos="4464"/>
        <p:guide pos="1037"/>
        <p:guide pos="2376"/>
        <p:guide pos="6057"/>
        <p:guide pos="72"/>
        <p:guide pos="6240"/>
        <p:guide pos="1176"/>
        <p:guide pos="1074"/>
        <p:guide pos="2664"/>
        <p:guide pos="6239"/>
        <p:guide pos="816"/>
        <p:guide/>
        <p:guide pos="208"/>
        <p:guide pos="123"/>
        <p:guide pos="4296"/>
        <p:guide pos="1177"/>
        <p:guide pos="124"/>
        <p:guide pos="4297"/>
      </p:guideLst>
    </p:cSldViewPr>
  </p:slideViewPr>
  <p:outlineViewPr>
    <p:cViewPr>
      <p:scale>
        <a:sx n="33" d="100"/>
        <a:sy n="33" d="100"/>
      </p:scale>
      <p:origin x="0" y="7146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56" d="100"/>
          <a:sy n="56" d="100"/>
        </p:scale>
        <p:origin x="2832" y="84"/>
      </p:cViewPr>
      <p:guideLst>
        <p:guide orient="horz" pos="5529"/>
        <p:guide orient="horz" pos="327"/>
        <p:guide orient="horz" pos="5565"/>
        <p:guide orient="horz" pos="328"/>
        <p:guide orient="horz" pos="5493"/>
        <p:guide orient="horz" pos="325"/>
        <p:guide orient="horz" pos="5710"/>
        <p:guide orient="horz" pos="338"/>
        <p:guide orient="horz" pos="5748"/>
        <p:guide orient="horz" pos="340"/>
        <p:guide orient="horz" pos="5673"/>
        <p:guide orient="horz" pos="336"/>
        <p:guide orient="horz" pos="3950"/>
        <p:guide orient="horz" pos="233"/>
        <p:guide orient="horz" pos="3975"/>
        <p:guide orient="horz" pos="234"/>
        <p:guide orient="horz" pos="3923"/>
        <p:guide orient="horz" pos="4078"/>
        <p:guide orient="horz" pos="242"/>
        <p:guide orient="horz" pos="4105"/>
        <p:guide orient="horz" pos="243"/>
        <p:guide orient="horz" pos="4052"/>
        <p:guide orient="horz" pos="240"/>
        <p:guide orient="horz" pos="5652"/>
        <p:guide orient="horz" pos="334"/>
        <p:guide orient="horz" pos="5689"/>
        <p:guide orient="horz" pos="335"/>
        <p:guide orient="horz" pos="5615"/>
        <p:guide orient="horz" pos="332"/>
        <p:guide orient="horz" pos="5837"/>
        <p:guide orient="horz" pos="346"/>
        <p:guide orient="horz" pos="5876"/>
        <p:guide orient="horz" pos="348"/>
        <p:guide orient="horz" pos="5799"/>
        <p:guide orient="horz" pos="343"/>
        <p:guide orient="horz" pos="4038"/>
        <p:guide orient="horz" pos="238"/>
        <p:guide orient="horz" pos="4063"/>
        <p:guide orient="horz" pos="239"/>
        <p:guide orient="horz" pos="4010"/>
        <p:guide orient="horz" pos="4169"/>
        <p:guide orient="horz" pos="247"/>
        <p:guide orient="horz" pos="4196"/>
        <p:guide orient="horz" pos="248"/>
        <p:guide orient="horz" pos="4142"/>
        <p:guide orient="horz" pos="245"/>
        <p:guide pos="219"/>
        <p:guide pos="4100"/>
        <p:guide pos="214"/>
        <p:guide pos="4011"/>
        <p:guide pos="224"/>
        <p:guide pos="4191"/>
        <p:guide pos="234"/>
        <p:guide pos="4373"/>
        <p:guide pos="229"/>
        <p:guide pos="4278"/>
        <p:guide pos="239"/>
        <p:guide pos="4470"/>
        <p:guide pos="297"/>
        <p:guide pos="5575"/>
        <p:guide pos="291"/>
        <p:guide pos="5454"/>
        <p:guide pos="305"/>
        <p:guide pos="5699"/>
        <p:guide pos="318"/>
        <p:guide pos="5947"/>
        <p:guide pos="312"/>
        <p:guide pos="5817"/>
        <p:guide pos="325"/>
        <p:guide pos="6078"/>
        <p:guide pos="205"/>
        <p:guide pos="3832"/>
        <p:guide pos="200"/>
        <p:guide pos="3749"/>
        <p:guide pos="209"/>
        <p:guide pos="3917"/>
        <p:guide pos="4087"/>
        <p:guide pos="3998"/>
        <p:guide pos="223"/>
        <p:guide pos="4178"/>
        <p:guide pos="278"/>
        <p:guide pos="5210"/>
        <p:guide pos="272"/>
        <p:guide pos="5097"/>
        <p:guide pos="285"/>
        <p:guide pos="5326"/>
        <p:guide pos="5558"/>
        <p:guide pos="292"/>
        <p:guide pos="5436"/>
        <p:guide pos="304"/>
        <p:guide pos="568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slide" Target="slides/slide9.xml"/><Relationship Id="rId34" Type="http://schemas.openxmlformats.org/officeDocument/2006/relationships/commentAuthors" Target="commentAuthor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handoutMaster" Target="handoutMasters/handoutMaster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slide" Target="slides/slide17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2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7.xml"/><Relationship Id="rId31" Type="http://schemas.openxmlformats.org/officeDocument/2006/relationships/slide" Target="slides/slide19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slide" Target="slides/slide18.xml"/><Relationship Id="rId35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baruwadipo\Dropbox\Office%20works\FDI\FDI%20Data%202009%20-%202016.xls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baruwadipo\Dropbox\Office%20works\FDI\FDI%20Data%202009%20-%202016.xls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baruwadipo\Dropbox\Office%20works\FDI\FDI%20Data%202009%20-%202016.xls" TargetMode="Externa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C:\Users\baruwadipo\Dropbox\Office%20works\FDI\FDI%20Data%202009%20-%202016.xls" TargetMode="Externa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oleObject" Target="file:///C:\Users\A216796\Documents\NIPC%20presentation\Data\Data%20-%20Labour%20and%20Security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gradFill flip="none" rotWithShape="1">
              <a:gsLst>
                <a:gs pos="0">
                  <a:schemeClr val="accent1"/>
                </a:gs>
                <a:gs pos="50000">
                  <a:srgbClr val="01628F"/>
                </a:gs>
                <a:gs pos="100000">
                  <a:schemeClr val="tx1"/>
                </a:gs>
              </a:gsLst>
              <a:lin ang="5400000" scaled="1"/>
              <a:tileRect/>
            </a:gra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44.63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55.3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6"/>
        <c:overlap val="100"/>
        <c:axId val="60216448"/>
        <c:axId val="60217984"/>
      </c:barChart>
      <c:catAx>
        <c:axId val="6021644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60217984"/>
        <c:crosses val="autoZero"/>
        <c:auto val="1"/>
        <c:lblAlgn val="ctr"/>
        <c:lblOffset val="100"/>
        <c:noMultiLvlLbl val="0"/>
      </c:catAx>
      <c:valAx>
        <c:axId val="60217984"/>
        <c:scaling>
          <c:orientation val="minMax"/>
          <c:max val="100"/>
          <c:min val="0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solidFill>
              <a:srgbClr val="021F43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021F43"/>
                </a:solidFill>
                <a:latin typeface="+mj-lt"/>
                <a:ea typeface="+mn-ea"/>
                <a:cs typeface="+mn-cs"/>
              </a:defRPr>
            </a:pPr>
            <a:endParaRPr lang="en-US"/>
          </a:p>
        </c:txPr>
        <c:crossAx val="602164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021F43"/>
          </a:solidFill>
          <a:latin typeface="Andes" panose="02000000000000000000" pitchFamily="50" charset="0"/>
        </a:defRPr>
      </a:pPr>
      <a:endParaRPr lang="en-US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sng" strike="noStrike" kern="1200" cap="none" spc="0" normalizeH="0" baseline="0">
                <a:solidFill>
                  <a:schemeClr val="dk1">
                    <a:lumMod val="50000"/>
                    <a:lumOff val="50000"/>
                  </a:schemeClr>
                </a:solidFill>
                <a:latin typeface="+mn-lt"/>
                <a:ea typeface="+mj-ea"/>
                <a:cs typeface="+mj-cs"/>
              </a:defRPr>
            </a:pPr>
            <a:r>
              <a:rPr lang="en-US" sz="1800" b="1" u="sng" dirty="0"/>
              <a:t>Results on individual indicators</a:t>
            </a:r>
          </a:p>
        </c:rich>
      </c:tx>
      <c:layout>
        <c:manualLayout>
          <c:xMode val="edge"/>
          <c:yMode val="edge"/>
          <c:x val="0.210965510404033"/>
          <c:y val="1.3716535164336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47791081686624398"/>
          <c:y val="9.5024699483675104E-2"/>
          <c:w val="0.47349744776595398"/>
          <c:h val="0.78626354885862204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3">
                <a:shade val="76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Trading across borders</c:v>
                </c:pt>
                <c:pt idx="1">
                  <c:v>Paying taxes</c:v>
                </c:pt>
                <c:pt idx="2">
                  <c:v>Getting electricity</c:v>
                </c:pt>
                <c:pt idx="3">
                  <c:v>Resolving insolvency</c:v>
                </c:pt>
                <c:pt idx="4">
                  <c:v>Registering property</c:v>
                </c:pt>
                <c:pt idx="5">
                  <c:v>Enforcing contracts</c:v>
                </c:pt>
                <c:pt idx="6">
                  <c:v>Dealing with construction permits</c:v>
                </c:pt>
                <c:pt idx="7">
                  <c:v>Getting credit</c:v>
                </c:pt>
                <c:pt idx="8">
                  <c:v>Protecting minority investors</c:v>
                </c:pt>
                <c:pt idx="9">
                  <c:v>Starting a business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19.93</c:v>
                </c:pt>
                <c:pt idx="1">
                  <c:v>28.09</c:v>
                </c:pt>
                <c:pt idx="2">
                  <c:v>29.43</c:v>
                </c:pt>
                <c:pt idx="3">
                  <c:v>30.6</c:v>
                </c:pt>
                <c:pt idx="4">
                  <c:v>31.44</c:v>
                </c:pt>
                <c:pt idx="5">
                  <c:v>48.59</c:v>
                </c:pt>
                <c:pt idx="6">
                  <c:v>49.63</c:v>
                </c:pt>
                <c:pt idx="7">
                  <c:v>65</c:v>
                </c:pt>
                <c:pt idx="8">
                  <c:v>65</c:v>
                </c:pt>
                <c:pt idx="9">
                  <c:v>78.62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3">
                <a:tint val="77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Trading across borders</c:v>
                </c:pt>
                <c:pt idx="1">
                  <c:v>Paying taxes</c:v>
                </c:pt>
                <c:pt idx="2">
                  <c:v>Getting electricity</c:v>
                </c:pt>
                <c:pt idx="3">
                  <c:v>Resolving insolvency</c:v>
                </c:pt>
                <c:pt idx="4">
                  <c:v>Registering property</c:v>
                </c:pt>
                <c:pt idx="5">
                  <c:v>Enforcing contracts</c:v>
                </c:pt>
                <c:pt idx="6">
                  <c:v>Dealing with construction permits</c:v>
                </c:pt>
                <c:pt idx="7">
                  <c:v>Getting credit</c:v>
                </c:pt>
                <c:pt idx="8">
                  <c:v>Protecting minority investors</c:v>
                </c:pt>
                <c:pt idx="9">
                  <c:v>Starting a business</c:v>
                </c:pt>
              </c:strCache>
            </c:strRef>
          </c:cat>
          <c:val>
            <c:numRef>
              <c:f>Sheet1!$C$2:$C$11</c:f>
              <c:numCache>
                <c:formatCode>General</c:formatCode>
                <c:ptCount val="10"/>
                <c:pt idx="0">
                  <c:v>80.069999999999993</c:v>
                </c:pt>
                <c:pt idx="1">
                  <c:v>71.91</c:v>
                </c:pt>
                <c:pt idx="2">
                  <c:v>70.569999999999993</c:v>
                </c:pt>
                <c:pt idx="3">
                  <c:v>69.400000000000006</c:v>
                </c:pt>
                <c:pt idx="4">
                  <c:v>68.56</c:v>
                </c:pt>
                <c:pt idx="5">
                  <c:v>51.41</c:v>
                </c:pt>
                <c:pt idx="6">
                  <c:v>50.37</c:v>
                </c:pt>
                <c:pt idx="7">
                  <c:v>35</c:v>
                </c:pt>
                <c:pt idx="8">
                  <c:v>35</c:v>
                </c:pt>
                <c:pt idx="9">
                  <c:v>21.37999999999998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66318336"/>
        <c:axId val="66319872"/>
      </c:barChart>
      <c:catAx>
        <c:axId val="663183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cap="none" spc="0" normalizeH="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6319872"/>
        <c:crosses val="autoZero"/>
        <c:auto val="1"/>
        <c:lblAlgn val="ctr"/>
        <c:lblOffset val="100"/>
        <c:noMultiLvlLbl val="0"/>
      </c:catAx>
      <c:valAx>
        <c:axId val="66319872"/>
        <c:scaling>
          <c:orientation val="minMax"/>
          <c:max val="100"/>
        </c:scaling>
        <c:delete val="0"/>
        <c:axPos val="b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DTF score</a:t>
                </a:r>
              </a:p>
            </c:rich>
          </c:tx>
          <c:layout>
            <c:manualLayout>
              <c:xMode val="edge"/>
              <c:yMode val="edge"/>
              <c:x val="0.64286319941633996"/>
              <c:y val="0.95122169736718198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6318336"/>
        <c:crosses val="autoZero"/>
        <c:crossBetween val="between"/>
        <c:majorUnit val="20"/>
      </c:valAx>
      <c:spPr>
        <a:pattFill prst="ltDnDiag">
          <a:fgClr>
            <a:schemeClr val="dk1">
              <a:lumMod val="15000"/>
              <a:lumOff val="85000"/>
            </a:schemeClr>
          </a:fgClr>
          <a:bgClr>
            <a:schemeClr val="lt1"/>
          </a:bgClr>
        </a:pattFill>
        <a:ln>
          <a:noFill/>
        </a:ln>
        <a:effectLst/>
      </c:spPr>
    </c:plotArea>
    <c:plotVisOnly val="1"/>
    <c:dispBlanksAs val="gap"/>
    <c:showDLblsOverMax val="0"/>
  </c:chart>
  <c:spPr>
    <a:solidFill>
      <a:schemeClr val="lt1"/>
    </a:solidFill>
    <a:ln w="9525" cap="flat" cmpd="sng" algn="ctr">
      <a:noFill/>
      <a:round/>
    </a:ln>
    <a:effectLst/>
  </c:spPr>
  <c:txPr>
    <a:bodyPr/>
    <a:lstStyle/>
    <a:p>
      <a:pPr>
        <a:defRPr>
          <a:latin typeface="+mn-lt"/>
        </a:defRPr>
      </a:pPr>
      <a:endParaRPr lang="en-US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4642602584414505E-2"/>
          <c:y val="2.57306293760396E-2"/>
          <c:w val="0.89311222888206898"/>
          <c:h val="0.7769124018413210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FDI UNCTAD'!$P$111</c:f>
              <c:strCache>
                <c:ptCount val="1"/>
                <c:pt idx="0">
                  <c:v>2013</c:v>
                </c:pt>
              </c:strCache>
            </c:strRef>
          </c:tx>
          <c:invertIfNegative val="0"/>
          <c:dLbls>
            <c:dLbl>
              <c:idx val="1"/>
              <c:layout>
                <c:manualLayout>
                  <c:x val="0"/>
                  <c:y val="-4.40440596658287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8.79413687277723E-3"/>
                  <c:y val="-4.954956712405730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FDI UNCTAD'!$O$112:$O$117</c:f>
              <c:strCache>
                <c:ptCount val="6"/>
                <c:pt idx="0">
                  <c:v>Developing Asia</c:v>
                </c:pt>
                <c:pt idx="1">
                  <c:v>Europe</c:v>
                </c:pt>
                <c:pt idx="2">
                  <c:v>North America </c:v>
                </c:pt>
                <c:pt idx="3">
                  <c:v>Latin America &amp; Caribbean </c:v>
                </c:pt>
                <c:pt idx="4">
                  <c:v>Africa</c:v>
                </c:pt>
                <c:pt idx="5">
                  <c:v>Transition Economies </c:v>
                </c:pt>
              </c:strCache>
            </c:strRef>
          </c:cat>
          <c:val>
            <c:numRef>
              <c:f>'FDI UNCTAD'!$P$112:$P$117</c:f>
              <c:numCache>
                <c:formatCode>General</c:formatCode>
                <c:ptCount val="6"/>
                <c:pt idx="0">
                  <c:v>431</c:v>
                </c:pt>
                <c:pt idx="1">
                  <c:v>323</c:v>
                </c:pt>
                <c:pt idx="2">
                  <c:v>238</c:v>
                </c:pt>
                <c:pt idx="3">
                  <c:v>176</c:v>
                </c:pt>
                <c:pt idx="4">
                  <c:v>52</c:v>
                </c:pt>
                <c:pt idx="5">
                  <c:v>85</c:v>
                </c:pt>
              </c:numCache>
            </c:numRef>
          </c:val>
        </c:ser>
        <c:ser>
          <c:idx val="1"/>
          <c:order val="1"/>
          <c:tx>
            <c:strRef>
              <c:f>'FDI UNCTAD'!$Q$111</c:f>
              <c:strCache>
                <c:ptCount val="1"/>
                <c:pt idx="0">
                  <c:v>2014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FDI UNCTAD'!$O$112:$O$117</c:f>
              <c:strCache>
                <c:ptCount val="6"/>
                <c:pt idx="0">
                  <c:v>Developing Asia</c:v>
                </c:pt>
                <c:pt idx="1">
                  <c:v>Europe</c:v>
                </c:pt>
                <c:pt idx="2">
                  <c:v>North America </c:v>
                </c:pt>
                <c:pt idx="3">
                  <c:v>Latin America &amp; Caribbean </c:v>
                </c:pt>
                <c:pt idx="4">
                  <c:v>Africa</c:v>
                </c:pt>
                <c:pt idx="5">
                  <c:v>Transition Economies </c:v>
                </c:pt>
              </c:strCache>
            </c:strRef>
          </c:cat>
          <c:val>
            <c:numRef>
              <c:f>'FDI UNCTAD'!$Q$112:$Q$117</c:f>
              <c:numCache>
                <c:formatCode>General</c:formatCode>
                <c:ptCount val="6"/>
                <c:pt idx="0">
                  <c:v>468</c:v>
                </c:pt>
                <c:pt idx="1">
                  <c:v>306</c:v>
                </c:pt>
                <c:pt idx="2">
                  <c:v>165</c:v>
                </c:pt>
                <c:pt idx="3">
                  <c:v>170</c:v>
                </c:pt>
                <c:pt idx="4">
                  <c:v>58</c:v>
                </c:pt>
                <c:pt idx="5">
                  <c:v>56</c:v>
                </c:pt>
              </c:numCache>
            </c:numRef>
          </c:val>
        </c:ser>
        <c:ser>
          <c:idx val="2"/>
          <c:order val="2"/>
          <c:tx>
            <c:strRef>
              <c:f>'FDI UNCTAD'!$R$111</c:f>
              <c:strCache>
                <c:ptCount val="1"/>
                <c:pt idx="0">
                  <c:v>2015</c:v>
                </c:pt>
              </c:strCache>
            </c:strRef>
          </c:tx>
          <c:invertIfNegative val="0"/>
          <c:dLbls>
            <c:dLbl>
              <c:idx val="3"/>
              <c:layout>
                <c:manualLayout>
                  <c:x val="5.86275791518482E-3"/>
                  <c:y val="-6.056058204051450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FDI UNCTAD'!$O$112:$O$117</c:f>
              <c:strCache>
                <c:ptCount val="6"/>
                <c:pt idx="0">
                  <c:v>Developing Asia</c:v>
                </c:pt>
                <c:pt idx="1">
                  <c:v>Europe</c:v>
                </c:pt>
                <c:pt idx="2">
                  <c:v>North America </c:v>
                </c:pt>
                <c:pt idx="3">
                  <c:v>Latin America &amp; Caribbean </c:v>
                </c:pt>
                <c:pt idx="4">
                  <c:v>Africa</c:v>
                </c:pt>
                <c:pt idx="5">
                  <c:v>Transition Economies </c:v>
                </c:pt>
              </c:strCache>
            </c:strRef>
          </c:cat>
          <c:val>
            <c:numRef>
              <c:f>'FDI UNCTAD'!$R$112:$R$117</c:f>
              <c:numCache>
                <c:formatCode>General</c:formatCode>
                <c:ptCount val="6"/>
                <c:pt idx="0">
                  <c:v>541</c:v>
                </c:pt>
                <c:pt idx="1">
                  <c:v>504</c:v>
                </c:pt>
                <c:pt idx="2">
                  <c:v>429</c:v>
                </c:pt>
                <c:pt idx="3">
                  <c:v>168</c:v>
                </c:pt>
                <c:pt idx="4">
                  <c:v>54</c:v>
                </c:pt>
                <c:pt idx="5">
                  <c:v>3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22"/>
        <c:overlap val="-25"/>
        <c:axId val="116335744"/>
        <c:axId val="116337280"/>
      </c:barChart>
      <c:catAx>
        <c:axId val="116335744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crossAx val="116337280"/>
        <c:crosses val="autoZero"/>
        <c:auto val="1"/>
        <c:lblAlgn val="ctr"/>
        <c:lblOffset val="100"/>
        <c:noMultiLvlLbl val="0"/>
      </c:catAx>
      <c:valAx>
        <c:axId val="116337280"/>
        <c:scaling>
          <c:orientation val="minMax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extTo"/>
        <c:spPr>
          <a:ln w="9525">
            <a:noFill/>
          </a:ln>
        </c:spPr>
        <c:crossAx val="116335744"/>
        <c:crosses val="autoZero"/>
        <c:crossBetween val="between"/>
      </c:valAx>
      <c:spPr>
        <a:noFill/>
      </c:spPr>
    </c:plotArea>
    <c:legend>
      <c:legendPos val="b"/>
      <c:layout>
        <c:manualLayout>
          <c:xMode val="edge"/>
          <c:yMode val="edge"/>
          <c:x val="0.61549771583258595"/>
          <c:y val="0.135597180659976"/>
          <c:w val="0.25561347529516898"/>
          <c:h val="8.7792058334300399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750" baseline="0"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1285137923208"/>
          <c:y val="3.9858714531796798E-2"/>
          <c:w val="0.49901082292541998"/>
          <c:h val="0.96014128546820299"/>
        </c:manualLayout>
      </c:layout>
      <c:pieChart>
        <c:varyColors val="1"/>
        <c:ser>
          <c:idx val="0"/>
          <c:order val="0"/>
          <c:tx>
            <c:strRef>
              <c:f>'FDI UNCTAD'!$D$185</c:f>
              <c:strCache>
                <c:ptCount val="1"/>
                <c:pt idx="0">
                  <c:v>2011 - 2015</c:v>
                </c:pt>
              </c:strCache>
            </c:strRef>
          </c:tx>
          <c:spPr>
            <a:effectLst>
              <a:outerShdw blurRad="50800" dist="50800" dir="5400000" sx="55000" sy="55000" algn="ctr" rotWithShape="0">
                <a:srgbClr val="000000">
                  <a:alpha val="43137"/>
                </a:srgbClr>
              </a:outerShdw>
            </a:effectLst>
          </c:spPr>
          <c:dPt>
            <c:idx val="0"/>
            <c:bubble3D val="0"/>
            <c:explosion val="8"/>
          </c:dPt>
          <c:dLbls>
            <c:spPr>
              <a:effectLst>
                <a:outerShdw blurRad="50800" dist="50800" dir="5400000" sx="62000" sy="62000" algn="ctr" rotWithShape="0">
                  <a:srgbClr val="000000">
                    <a:alpha val="43137"/>
                  </a:srgbClr>
                </a:outerShdw>
              </a:effectLst>
            </c:spPr>
            <c:txPr>
              <a:bodyPr/>
              <a:lstStyle/>
              <a:p>
                <a:pPr>
                  <a:defRPr sz="700">
                    <a:latin typeface="Calibri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'FDI UNCTAD'!$C$186:$C$191</c:f>
              <c:strCache>
                <c:ptCount val="6"/>
                <c:pt idx="0">
                  <c:v>Nigeria </c:v>
                </c:pt>
                <c:pt idx="1">
                  <c:v>South Africa</c:v>
                </c:pt>
                <c:pt idx="2">
                  <c:v>Mozambique</c:v>
                </c:pt>
                <c:pt idx="3">
                  <c:v>Egypt</c:v>
                </c:pt>
                <c:pt idx="4">
                  <c:v>Ghana</c:v>
                </c:pt>
                <c:pt idx="5">
                  <c:v>Others</c:v>
                </c:pt>
              </c:strCache>
            </c:strRef>
          </c:cat>
          <c:val>
            <c:numRef>
              <c:f>'FDI UNCTAD'!$D$186:$D$191</c:f>
              <c:numCache>
                <c:formatCode>_(* #,##0_);_(* \(#,##0\);_(* "-"??_);_(@_)</c:formatCode>
                <c:ptCount val="6"/>
                <c:pt idx="0">
                  <c:v>29408</c:v>
                </c:pt>
                <c:pt idx="1">
                  <c:v>24645</c:v>
                </c:pt>
                <c:pt idx="2">
                  <c:v>23976</c:v>
                </c:pt>
                <c:pt idx="3">
                  <c:v>21301</c:v>
                </c:pt>
                <c:pt idx="4">
                  <c:v>16305</c:v>
                </c:pt>
                <c:pt idx="5">
                  <c:v>151840</c:v>
                </c:pt>
              </c:numCache>
            </c:numRef>
          </c:val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</c:pieChart>
    </c:plotArea>
    <c:plotVisOnly val="1"/>
    <c:dispBlanksAs val="zero"/>
    <c:showDLblsOverMax val="0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017044347036201"/>
          <c:y val="1.1936575963789E-2"/>
          <c:w val="0.59300441489621603"/>
          <c:h val="0.98806342403621095"/>
        </c:manualLayout>
      </c:layout>
      <c:pieChart>
        <c:varyColors val="1"/>
        <c:ser>
          <c:idx val="0"/>
          <c:order val="0"/>
          <c:dLbls>
            <c:dLbl>
              <c:idx val="0"/>
              <c:layout>
                <c:manualLayout>
                  <c:x val="-8.5443977368074603E-2"/>
                  <c:y val="0.15253922096898601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0.184629404585334"/>
                  <c:y val="0.104236100728071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0.13840381773198401"/>
                  <c:y val="1.07054492948781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2.59090782518419E-2"/>
                  <c:y val="-2.4073104947465899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-3.3496310937310397E-2"/>
                  <c:y val="-6.3119677642339195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-9.72585401683051E-3"/>
                  <c:y val="-0.10898664339577201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0.15693897376648999"/>
                  <c:y val="-5.2599731368616004E-3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>
                <c:manualLayout>
                  <c:x val="-2.3874616527148E-2"/>
                  <c:y val="1.3952473998365899E-3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>
                <c:manualLayout>
                  <c:x val="-2.0220492621086501E-2"/>
                  <c:y val="-1.9989551127589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0"/>
              <c:layout>
                <c:manualLayout>
                  <c:x val="0.20396683915392499"/>
                  <c:y val="5.6828004262649098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750"/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'FDI UNCTAD'!$V$129:$V$139</c:f>
              <c:strCache>
                <c:ptCount val="11"/>
                <c:pt idx="0">
                  <c:v>Italy </c:v>
                </c:pt>
                <c:pt idx="1">
                  <c:v>United States </c:v>
                </c:pt>
                <c:pt idx="2">
                  <c:v>France </c:v>
                </c:pt>
                <c:pt idx="3">
                  <c:v>United Kingdom </c:v>
                </c:pt>
                <c:pt idx="4">
                  <c:v>United Arab Emirate </c:v>
                </c:pt>
                <c:pt idx="5">
                  <c:v>Bahrain </c:v>
                </c:pt>
                <c:pt idx="6">
                  <c:v>Morocco</c:v>
                </c:pt>
                <c:pt idx="7">
                  <c:v>Germany </c:v>
                </c:pt>
                <c:pt idx="8">
                  <c:v>China</c:v>
                </c:pt>
                <c:pt idx="9">
                  <c:v>Finland </c:v>
                </c:pt>
                <c:pt idx="10">
                  <c:v>Others </c:v>
                </c:pt>
              </c:strCache>
            </c:strRef>
          </c:cat>
          <c:val>
            <c:numRef>
              <c:f>'FDI UNCTAD'!$W$129:$W$139</c:f>
              <c:numCache>
                <c:formatCode>0%</c:formatCode>
                <c:ptCount val="11"/>
                <c:pt idx="0">
                  <c:v>0.11</c:v>
                </c:pt>
                <c:pt idx="1">
                  <c:v>0.1</c:v>
                </c:pt>
                <c:pt idx="2">
                  <c:v>0.09</c:v>
                </c:pt>
                <c:pt idx="3">
                  <c:v>7.0000000000000007E-2</c:v>
                </c:pt>
                <c:pt idx="4">
                  <c:v>0.06</c:v>
                </c:pt>
                <c:pt idx="5">
                  <c:v>0.06</c:v>
                </c:pt>
                <c:pt idx="6">
                  <c:v>0.05</c:v>
                </c:pt>
                <c:pt idx="7">
                  <c:v>0.04</c:v>
                </c:pt>
                <c:pt idx="8">
                  <c:v>0.03</c:v>
                </c:pt>
                <c:pt idx="9">
                  <c:v>0.03</c:v>
                </c:pt>
                <c:pt idx="10">
                  <c:v>0.35</c:v>
                </c:pt>
              </c:numCache>
            </c:numRef>
          </c:val>
        </c:ser>
        <c:dLbls>
          <c:showLegendKey val="0"/>
          <c:showVal val="1"/>
          <c:showCatName val="1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9545969735830699E-2"/>
          <c:y val="2.60876965075055E-2"/>
          <c:w val="0.93489843977134302"/>
          <c:h val="0.8826620591216629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FDI UNCTAD'!$C$140</c:f>
              <c:strCache>
                <c:ptCount val="1"/>
                <c:pt idx="0">
                  <c:v>2011</c:v>
                </c:pt>
              </c:strCache>
            </c:strRef>
          </c:tx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hr-HR"/>
                      <a:t> </a:t>
                    </a:r>
                    <a:r>
                      <a:rPr lang="hr-HR" smtClean="0"/>
                      <a:t>8.9 </a:t>
                    </a:r>
                    <a:endParaRPr lang="hr-HR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hr-HR"/>
                      <a:t> </a:t>
                    </a:r>
                    <a:r>
                      <a:rPr lang="hr-HR" smtClean="0"/>
                      <a:t>4.2 </a:t>
                    </a:r>
                    <a:endParaRPr lang="hr-HR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hr-HR"/>
                      <a:t> </a:t>
                    </a:r>
                    <a:r>
                      <a:rPr lang="hr-HR" smtClean="0"/>
                      <a:t>3.6 </a:t>
                    </a:r>
                    <a:endParaRPr lang="hr-HR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3.0717923835996302E-3"/>
                  <c:y val="-5.6766818524277798E-2"/>
                </c:manualLayout>
              </c:layout>
              <c:tx>
                <c:rich>
                  <a:bodyPr/>
                  <a:lstStyle/>
                  <a:p>
                    <a:r>
                      <a:rPr lang="hr-HR" dirty="0" smtClean="0"/>
                      <a:t> 3.2 </a:t>
                    </a:r>
                    <a:endParaRPr lang="hr-HR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FDI UNCTAD'!$D$139:$H$139</c:f>
              <c:strCache>
                <c:ptCount val="5"/>
                <c:pt idx="0">
                  <c:v>Nigeria </c:v>
                </c:pt>
                <c:pt idx="1">
                  <c:v>South Africa</c:v>
                </c:pt>
                <c:pt idx="2">
                  <c:v>Mozambique</c:v>
                </c:pt>
                <c:pt idx="3">
                  <c:v>Egypt </c:v>
                </c:pt>
                <c:pt idx="4">
                  <c:v>Ghana</c:v>
                </c:pt>
              </c:strCache>
            </c:strRef>
          </c:cat>
          <c:val>
            <c:numRef>
              <c:f>'FDI UNCTAD'!$D$140:$H$140</c:f>
              <c:numCache>
                <c:formatCode>_(* #,##0_);_(* \(#,##0\);_(* "-"??_);_(@_)</c:formatCode>
                <c:ptCount val="5"/>
                <c:pt idx="0">
                  <c:v>8915</c:v>
                </c:pt>
                <c:pt idx="1">
                  <c:v>4243</c:v>
                </c:pt>
                <c:pt idx="2">
                  <c:v>3559</c:v>
                </c:pt>
                <c:pt idx="3">
                  <c:v>-483</c:v>
                </c:pt>
                <c:pt idx="4">
                  <c:v>3237</c:v>
                </c:pt>
              </c:numCache>
            </c:numRef>
          </c:val>
        </c:ser>
        <c:ser>
          <c:idx val="1"/>
          <c:order val="1"/>
          <c:tx>
            <c:strRef>
              <c:f>'FDI UNCTAD'!$C$141</c:f>
              <c:strCache>
                <c:ptCount val="1"/>
                <c:pt idx="0">
                  <c:v>2012</c:v>
                </c:pt>
              </c:strCache>
            </c:strRef>
          </c:tx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nb-NO"/>
                      <a:t> </a:t>
                    </a:r>
                    <a:r>
                      <a:rPr lang="nb-NO" smtClean="0"/>
                      <a:t>7.1 </a:t>
                    </a:r>
                    <a:endParaRPr lang="nb-NO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1.5358961917998099E-3"/>
                  <c:y val="-3.1536983445318599E-2"/>
                </c:manualLayout>
              </c:layout>
              <c:tx>
                <c:rich>
                  <a:bodyPr/>
                  <a:lstStyle/>
                  <a:p>
                    <a:r>
                      <a:rPr lang="hr-HR" dirty="0" smtClean="0"/>
                      <a:t>4.6</a:t>
                    </a:r>
                    <a:endParaRPr lang="hr-HR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nb-NO"/>
                      <a:t> </a:t>
                    </a:r>
                    <a:r>
                      <a:rPr lang="nb-NO" smtClean="0"/>
                      <a:t>5.6 </a:t>
                    </a:r>
                    <a:endParaRPr lang="nb-NO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3.0717923835996302E-3"/>
                  <c:y val="-1.26147933781274E-2"/>
                </c:manualLayout>
              </c:layout>
              <c:tx>
                <c:rich>
                  <a:bodyPr/>
                  <a:lstStyle/>
                  <a:p>
                    <a:r>
                      <a:rPr lang="hr-HR" dirty="0"/>
                      <a:t> </a:t>
                    </a:r>
                    <a:r>
                      <a:rPr lang="hr-HR" dirty="0" smtClean="0"/>
                      <a:t>6.0 </a:t>
                    </a:r>
                    <a:endParaRPr lang="hr-HR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3.07191332030753E-3"/>
                  <c:y val="-2.4832270429384701E-7"/>
                </c:manualLayout>
              </c:layout>
              <c:tx>
                <c:rich>
                  <a:bodyPr/>
                  <a:lstStyle/>
                  <a:p>
                    <a:r>
                      <a:rPr lang="hr-HR" dirty="0"/>
                      <a:t> </a:t>
                    </a:r>
                    <a:r>
                      <a:rPr lang="hr-HR" dirty="0" smtClean="0"/>
                      <a:t>3.3 </a:t>
                    </a:r>
                    <a:endParaRPr lang="hr-HR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FDI UNCTAD'!$D$139:$H$139</c:f>
              <c:strCache>
                <c:ptCount val="5"/>
                <c:pt idx="0">
                  <c:v>Nigeria </c:v>
                </c:pt>
                <c:pt idx="1">
                  <c:v>South Africa</c:v>
                </c:pt>
                <c:pt idx="2">
                  <c:v>Mozambique</c:v>
                </c:pt>
                <c:pt idx="3">
                  <c:v>Egypt </c:v>
                </c:pt>
                <c:pt idx="4">
                  <c:v>Ghana</c:v>
                </c:pt>
              </c:strCache>
            </c:strRef>
          </c:cat>
          <c:val>
            <c:numRef>
              <c:f>'FDI UNCTAD'!$D$141:$H$141</c:f>
              <c:numCache>
                <c:formatCode>_(* #,##0_);_(* \(#,##0\);_(* "-"??_);_(@_)</c:formatCode>
                <c:ptCount val="5"/>
                <c:pt idx="0">
                  <c:v>7127</c:v>
                </c:pt>
                <c:pt idx="1">
                  <c:v>4559</c:v>
                </c:pt>
                <c:pt idx="2">
                  <c:v>5629</c:v>
                </c:pt>
                <c:pt idx="3">
                  <c:v>6031</c:v>
                </c:pt>
                <c:pt idx="4">
                  <c:v>3293</c:v>
                </c:pt>
              </c:numCache>
            </c:numRef>
          </c:val>
        </c:ser>
        <c:ser>
          <c:idx val="2"/>
          <c:order val="2"/>
          <c:tx>
            <c:strRef>
              <c:f>'FDI UNCTAD'!$C$142</c:f>
              <c:strCache>
                <c:ptCount val="1"/>
                <c:pt idx="0">
                  <c:v>2013</c:v>
                </c:pt>
              </c:strCache>
            </c:strRef>
          </c:tx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nb-NO"/>
                      <a:t> </a:t>
                    </a:r>
                    <a:r>
                      <a:rPr lang="nb-NO" smtClean="0"/>
                      <a:t>5.6</a:t>
                    </a:r>
                    <a:endParaRPr lang="nb-NO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hr-HR"/>
                      <a:t> </a:t>
                    </a:r>
                    <a:r>
                      <a:rPr lang="hr-HR" smtClean="0"/>
                      <a:t>8.3</a:t>
                    </a:r>
                    <a:endParaRPr lang="hr-HR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hr-HR"/>
                      <a:t> </a:t>
                    </a:r>
                    <a:r>
                      <a:rPr lang="hr-HR" smtClean="0"/>
                      <a:t>6.2</a:t>
                    </a:r>
                    <a:endParaRPr lang="hr-HR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hr-HR"/>
                      <a:t> </a:t>
                    </a:r>
                    <a:r>
                      <a:rPr lang="hr-HR" smtClean="0"/>
                      <a:t>4.3</a:t>
                    </a:r>
                    <a:endParaRPr lang="hr-HR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3.0717923835995101E-3"/>
                  <c:y val="-5.3612871857041701E-2"/>
                </c:manualLayout>
              </c:layout>
              <c:tx>
                <c:rich>
                  <a:bodyPr/>
                  <a:lstStyle/>
                  <a:p>
                    <a:r>
                      <a:rPr lang="hr-HR" dirty="0" smtClean="0"/>
                      <a:t> 3.2 </a:t>
                    </a:r>
                    <a:endParaRPr lang="hr-HR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FDI UNCTAD'!$D$139:$H$139</c:f>
              <c:strCache>
                <c:ptCount val="5"/>
                <c:pt idx="0">
                  <c:v>Nigeria </c:v>
                </c:pt>
                <c:pt idx="1">
                  <c:v>South Africa</c:v>
                </c:pt>
                <c:pt idx="2">
                  <c:v>Mozambique</c:v>
                </c:pt>
                <c:pt idx="3">
                  <c:v>Egypt </c:v>
                </c:pt>
                <c:pt idx="4">
                  <c:v>Ghana</c:v>
                </c:pt>
              </c:strCache>
            </c:strRef>
          </c:cat>
          <c:val>
            <c:numRef>
              <c:f>'FDI UNCTAD'!$D$142:$H$142</c:f>
              <c:numCache>
                <c:formatCode>_(* #,##0_);_(* \(#,##0\);_(* "-"??_);_(@_)</c:formatCode>
                <c:ptCount val="5"/>
                <c:pt idx="0">
                  <c:v>5608</c:v>
                </c:pt>
                <c:pt idx="1">
                  <c:v>8300</c:v>
                </c:pt>
                <c:pt idx="2">
                  <c:v>6175</c:v>
                </c:pt>
                <c:pt idx="3">
                  <c:v>4256</c:v>
                </c:pt>
                <c:pt idx="4">
                  <c:v>3226</c:v>
                </c:pt>
              </c:numCache>
            </c:numRef>
          </c:val>
        </c:ser>
        <c:ser>
          <c:idx val="3"/>
          <c:order val="3"/>
          <c:tx>
            <c:strRef>
              <c:f>'FDI UNCTAD'!$C$143</c:f>
              <c:strCache>
                <c:ptCount val="1"/>
                <c:pt idx="0">
                  <c:v>2014</c:v>
                </c:pt>
              </c:strCache>
            </c:strRef>
          </c:tx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hr-HR"/>
                      <a:t> </a:t>
                    </a:r>
                    <a:r>
                      <a:rPr lang="hr-HR" smtClean="0"/>
                      <a:t>4.7 </a:t>
                    </a:r>
                    <a:endParaRPr lang="hr-HR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nb-NO"/>
                      <a:t> </a:t>
                    </a:r>
                    <a:r>
                      <a:rPr lang="nb-NO" smtClean="0"/>
                      <a:t>5.8 </a:t>
                    </a:r>
                    <a:endParaRPr lang="nb-NO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hr-HR"/>
                      <a:t> </a:t>
                    </a:r>
                    <a:r>
                      <a:rPr lang="hr-HR" smtClean="0"/>
                      <a:t>4.9 </a:t>
                    </a:r>
                    <a:endParaRPr lang="hr-HR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0"/>
                  <c:y val="-3.4690681789850498E-2"/>
                </c:manualLayout>
              </c:layout>
              <c:tx>
                <c:rich>
                  <a:bodyPr/>
                  <a:lstStyle/>
                  <a:p>
                    <a:r>
                      <a:rPr lang="hr-HR" dirty="0" smtClean="0"/>
                      <a:t>4.6 </a:t>
                    </a:r>
                    <a:endParaRPr lang="hr-HR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hr-HR"/>
                      <a:t> </a:t>
                    </a:r>
                    <a:r>
                      <a:rPr lang="hr-HR" smtClean="0"/>
                      <a:t>3.4 </a:t>
                    </a:r>
                    <a:endParaRPr lang="hr-HR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FDI UNCTAD'!$D$139:$H$139</c:f>
              <c:strCache>
                <c:ptCount val="5"/>
                <c:pt idx="0">
                  <c:v>Nigeria </c:v>
                </c:pt>
                <c:pt idx="1">
                  <c:v>South Africa</c:v>
                </c:pt>
                <c:pt idx="2">
                  <c:v>Mozambique</c:v>
                </c:pt>
                <c:pt idx="3">
                  <c:v>Egypt </c:v>
                </c:pt>
                <c:pt idx="4">
                  <c:v>Ghana</c:v>
                </c:pt>
              </c:strCache>
            </c:strRef>
          </c:cat>
          <c:val>
            <c:numRef>
              <c:f>'FDI UNCTAD'!$D$143:$H$143</c:f>
              <c:numCache>
                <c:formatCode>_(* #,##0_);_(* \(#,##0\);_(* "-"??_);_(@_)</c:formatCode>
                <c:ptCount val="5"/>
                <c:pt idx="0">
                  <c:v>4694</c:v>
                </c:pt>
                <c:pt idx="1">
                  <c:v>5771</c:v>
                </c:pt>
                <c:pt idx="2">
                  <c:v>4902</c:v>
                </c:pt>
                <c:pt idx="3">
                  <c:v>4612</c:v>
                </c:pt>
                <c:pt idx="4">
                  <c:v>3357</c:v>
                </c:pt>
              </c:numCache>
            </c:numRef>
          </c:val>
        </c:ser>
        <c:ser>
          <c:idx val="4"/>
          <c:order val="4"/>
          <c:tx>
            <c:strRef>
              <c:f>'FDI UNCTAD'!$C$144</c:f>
              <c:strCache>
                <c:ptCount val="1"/>
                <c:pt idx="0">
                  <c:v>2015</c:v>
                </c:pt>
              </c:strCache>
            </c:strRef>
          </c:tx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hr-HR"/>
                      <a:t> </a:t>
                    </a:r>
                    <a:r>
                      <a:rPr lang="hr-HR" smtClean="0"/>
                      <a:t>3.1 </a:t>
                    </a:r>
                    <a:endParaRPr lang="hr-HR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4.6076885753994403E-3"/>
                  <c:y val="-3.15369834453186E-3"/>
                </c:manualLayout>
              </c:layout>
              <c:tx>
                <c:rich>
                  <a:bodyPr/>
                  <a:lstStyle/>
                  <a:p>
                    <a:r>
                      <a:rPr lang="nb-NO" dirty="0"/>
                      <a:t> </a:t>
                    </a:r>
                    <a:r>
                      <a:rPr lang="nb-NO" dirty="0" smtClean="0"/>
                      <a:t>1.8 </a:t>
                    </a:r>
                    <a:endParaRPr lang="nb-NO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hr-HR"/>
                      <a:t> </a:t>
                    </a:r>
                    <a:r>
                      <a:rPr lang="hr-HR" smtClean="0"/>
                      <a:t>3.7 </a:t>
                    </a:r>
                    <a:endParaRPr lang="hr-HR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hr-HR"/>
                      <a:t> </a:t>
                    </a:r>
                    <a:r>
                      <a:rPr lang="hr-HR" smtClean="0"/>
                      <a:t>6.9 </a:t>
                    </a:r>
                    <a:endParaRPr lang="hr-HR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0"/>
                  <c:y val="-6.3073966890637198E-2"/>
                </c:manualLayout>
              </c:layout>
              <c:tx>
                <c:rich>
                  <a:bodyPr/>
                  <a:lstStyle/>
                  <a:p>
                    <a:r>
                      <a:rPr lang="hr-HR" dirty="0" smtClean="0"/>
                      <a:t> 3.2 </a:t>
                    </a:r>
                    <a:endParaRPr lang="hr-HR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FDI UNCTAD'!$D$139:$H$139</c:f>
              <c:strCache>
                <c:ptCount val="5"/>
                <c:pt idx="0">
                  <c:v>Nigeria </c:v>
                </c:pt>
                <c:pt idx="1">
                  <c:v>South Africa</c:v>
                </c:pt>
                <c:pt idx="2">
                  <c:v>Mozambique</c:v>
                </c:pt>
                <c:pt idx="3">
                  <c:v>Egypt </c:v>
                </c:pt>
                <c:pt idx="4">
                  <c:v>Ghana</c:v>
                </c:pt>
              </c:strCache>
            </c:strRef>
          </c:cat>
          <c:val>
            <c:numRef>
              <c:f>'FDI UNCTAD'!$D$144:$H$144</c:f>
              <c:numCache>
                <c:formatCode>_(* #,##0_);_(* \(#,##0\);_(* "-"??_);_(@_)</c:formatCode>
                <c:ptCount val="5"/>
                <c:pt idx="0">
                  <c:v>3064</c:v>
                </c:pt>
                <c:pt idx="1">
                  <c:v>1772</c:v>
                </c:pt>
                <c:pt idx="2">
                  <c:v>3711</c:v>
                </c:pt>
                <c:pt idx="3">
                  <c:v>6885</c:v>
                </c:pt>
                <c:pt idx="4">
                  <c:v>319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0"/>
        <c:overlap val="-25"/>
        <c:axId val="116597120"/>
        <c:axId val="116598656"/>
      </c:barChart>
      <c:catAx>
        <c:axId val="116597120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sz="700">
                <a:latin typeface="Calibri" pitchFamily="34" charset="0"/>
              </a:defRPr>
            </a:pPr>
            <a:endParaRPr lang="en-US"/>
          </a:p>
        </c:txPr>
        <c:crossAx val="116598656"/>
        <c:crosses val="autoZero"/>
        <c:auto val="1"/>
        <c:lblAlgn val="ctr"/>
        <c:lblOffset val="100"/>
        <c:noMultiLvlLbl val="0"/>
      </c:catAx>
      <c:valAx>
        <c:axId val="116598656"/>
        <c:scaling>
          <c:orientation val="minMax"/>
        </c:scaling>
        <c:delete val="0"/>
        <c:axPos val="l"/>
        <c:majorGridlines/>
        <c:numFmt formatCode="_(* #,##0_);_(* \(#,##0\);_(* &quot;-&quot;??_);_(@_)" sourceLinked="1"/>
        <c:majorTickMark val="none"/>
        <c:minorTickMark val="none"/>
        <c:tickLblPos val="nextTo"/>
        <c:spPr>
          <a:ln w="9525">
            <a:noFill/>
          </a:ln>
        </c:spPr>
        <c:txPr>
          <a:bodyPr/>
          <a:lstStyle/>
          <a:p>
            <a:pPr>
              <a:defRPr sz="700">
                <a:latin typeface="Calibri" pitchFamily="34" charset="0"/>
              </a:defRPr>
            </a:pPr>
            <a:endParaRPr lang="en-US"/>
          </a:p>
        </c:txPr>
        <c:crossAx val="116597120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14411531653732099"/>
          <c:y val="0.93050987107581795"/>
          <c:w val="0.67873009623797098"/>
          <c:h val="6.6941892680081605E-2"/>
        </c:manualLayout>
      </c:layout>
      <c:overlay val="0"/>
      <c:txPr>
        <a:bodyPr/>
        <a:lstStyle/>
        <a:p>
          <a:pPr>
            <a:defRPr sz="700">
              <a:latin typeface="Calibri" pitchFamily="34" charset="0"/>
            </a:defRPr>
          </a:pPr>
          <a:endParaRPr lang="en-US"/>
        </a:p>
      </c:txPr>
    </c:legend>
    <c:plotVisOnly val="1"/>
    <c:dispBlanksAs val="gap"/>
    <c:showDLblsOverMax val="0"/>
  </c:chart>
  <c:externalData r:id="rId1">
    <c:autoUpdate val="0"/>
  </c:externalData>
  <c:userShapes r:id="rId2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808913627596997E-2"/>
          <c:y val="2.1273785307715801E-2"/>
          <c:w val="0.92650103519668803"/>
          <c:h val="0.87162162162164103"/>
        </c:manualLayout>
      </c:layout>
      <c:bubbleChart>
        <c:varyColors val="0"/>
        <c:ser>
          <c:idx val="0"/>
          <c:order val="0"/>
          <c:tx>
            <c:strRef>
              <c:f>'Comparative charts'!$B$405</c:f>
              <c:strCache>
                <c:ptCount val="1"/>
                <c:pt idx="0">
                  <c:v>South Africa</c:v>
                </c:pt>
              </c:strCache>
            </c:strRef>
          </c:tx>
          <c:spPr>
            <a:solidFill>
              <a:srgbClr val="DBEFD4"/>
            </a:solidFill>
            <a:ln w="20891">
              <a:noFill/>
            </a:ln>
          </c:spPr>
          <c:invertIfNegative val="1"/>
          <c:dLbls>
            <c:dLbl>
              <c:idx val="0"/>
              <c:layout>
                <c:manualLayout>
                  <c:x val="0"/>
                  <c:y val="-2.2776719771246401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 w="20891">
                <a:noFill/>
              </a:ln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Comparative charts'!$D$404:$R$404</c:f>
              <c:numCache>
                <c:formatCode>#,##0.00_);[Red]\(#,##0.00\)</c:formatCode>
                <c:ptCount val="15"/>
                <c:pt idx="0">
                  <c:v>54.491999999999997</c:v>
                </c:pt>
                <c:pt idx="1">
                  <c:v>182.203</c:v>
                </c:pt>
                <c:pt idx="2">
                  <c:v>25.021999999999991</c:v>
                </c:pt>
                <c:pt idx="3">
                  <c:v>15.13</c:v>
                </c:pt>
                <c:pt idx="4">
                  <c:v>46.05</c:v>
                </c:pt>
                <c:pt idx="5">
                  <c:v>99.39</c:v>
                </c:pt>
                <c:pt idx="6">
                  <c:v>22.7</c:v>
                </c:pt>
                <c:pt idx="7">
                  <c:v>23.344000000000001</c:v>
                </c:pt>
                <c:pt idx="8">
                  <c:v>53.47</c:v>
                </c:pt>
                <c:pt idx="9">
                  <c:v>0.84499999999999997</c:v>
                </c:pt>
                <c:pt idx="10">
                  <c:v>27.41</c:v>
                </c:pt>
                <c:pt idx="11">
                  <c:v>39.03</c:v>
                </c:pt>
                <c:pt idx="12">
                  <c:v>7.3049999999999846</c:v>
                </c:pt>
                <c:pt idx="13">
                  <c:v>16.21</c:v>
                </c:pt>
                <c:pt idx="14">
                  <c:v>2.2599999999999998</c:v>
                </c:pt>
              </c:numCache>
            </c:numRef>
          </c:xVal>
          <c:yVal>
            <c:numRef>
              <c:f>'Comparative charts'!$D$405:$R$405</c:f>
              <c:numCache>
                <c:formatCode>General</c:formatCode>
                <c:ptCount val="15"/>
                <c:pt idx="0">
                  <c:v>74</c:v>
                </c:pt>
              </c:numCache>
            </c:numRef>
          </c:yVal>
          <c:bubbleSize>
            <c:numRef>
              <c:f>'Comparative charts'!$D$406:$R$406</c:f>
              <c:numCache>
                <c:formatCode>General</c:formatCode>
                <c:ptCount val="15"/>
                <c:pt idx="0" formatCode="_(* #,##0.0_);_(* \(#,##0.0\);_(* &quot;-&quot;??_);_(@_)">
                  <c:v>314.59109999999862</c:v>
                </c:pt>
              </c:numCache>
            </c:numRef>
          </c:bubbleSize>
          <c:bubble3D val="1"/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  <a:ln w="20891">
                    <a:noFill/>
                  </a:ln>
                </c14:spPr>
              </c14:invertSolidFillFmt>
            </c:ext>
          </c:extLst>
        </c:ser>
        <c:ser>
          <c:idx val="1"/>
          <c:order val="1"/>
          <c:tx>
            <c:strRef>
              <c:f>'Comparative charts'!$B$407</c:f>
              <c:strCache>
                <c:ptCount val="1"/>
                <c:pt idx="0">
                  <c:v>Nigeria</c:v>
                </c:pt>
              </c:strCache>
            </c:strRef>
          </c:tx>
          <c:spPr>
            <a:solidFill>
              <a:srgbClr val="84C225"/>
            </a:solidFill>
            <a:ln w="20891">
              <a:noFill/>
            </a:ln>
          </c:spPr>
          <c:invertIfNegative val="1"/>
          <c:dLbls>
            <c:spPr>
              <a:noFill/>
              <a:ln w="20891">
                <a:noFill/>
              </a:ln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xVal>
            <c:numRef>
              <c:f>'Comparative charts'!$D$404:$R$404</c:f>
              <c:numCache>
                <c:formatCode>#,##0.00_);[Red]\(#,##0.00\)</c:formatCode>
                <c:ptCount val="15"/>
                <c:pt idx="0">
                  <c:v>54.491999999999997</c:v>
                </c:pt>
                <c:pt idx="1">
                  <c:v>182.203</c:v>
                </c:pt>
                <c:pt idx="2">
                  <c:v>25.021999999999991</c:v>
                </c:pt>
                <c:pt idx="3">
                  <c:v>15.13</c:v>
                </c:pt>
                <c:pt idx="4">
                  <c:v>46.05</c:v>
                </c:pt>
                <c:pt idx="5">
                  <c:v>99.39</c:v>
                </c:pt>
                <c:pt idx="6">
                  <c:v>22.7</c:v>
                </c:pt>
                <c:pt idx="7">
                  <c:v>23.344000000000001</c:v>
                </c:pt>
                <c:pt idx="8">
                  <c:v>53.47</c:v>
                </c:pt>
                <c:pt idx="9">
                  <c:v>0.84499999999999997</c:v>
                </c:pt>
                <c:pt idx="10">
                  <c:v>27.41</c:v>
                </c:pt>
                <c:pt idx="11">
                  <c:v>39.03</c:v>
                </c:pt>
                <c:pt idx="12">
                  <c:v>7.3049999999999846</c:v>
                </c:pt>
                <c:pt idx="13">
                  <c:v>16.21</c:v>
                </c:pt>
                <c:pt idx="14">
                  <c:v>2.2599999999999998</c:v>
                </c:pt>
              </c:numCache>
            </c:numRef>
          </c:xVal>
          <c:yVal>
            <c:numRef>
              <c:f>'Comparative charts'!$D$407:$R$407</c:f>
              <c:numCache>
                <c:formatCode>General</c:formatCode>
                <c:ptCount val="15"/>
                <c:pt idx="1">
                  <c:v>169</c:v>
                </c:pt>
              </c:numCache>
            </c:numRef>
          </c:yVal>
          <c:bubbleSize>
            <c:numRef>
              <c:f>'Comparative charts'!$D$408:$R$408</c:f>
              <c:numCache>
                <c:formatCode>_(* #,##0.0_);_(* \(#,##0.0\);_(* "-"??_);_(@_)</c:formatCode>
                <c:ptCount val="15"/>
                <c:pt idx="1">
                  <c:v>493.84</c:v>
                </c:pt>
              </c:numCache>
            </c:numRef>
          </c:bubbleSize>
          <c:bubble3D val="1"/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  <a:ln w="20891">
                    <a:noFill/>
                  </a:ln>
                </c14:spPr>
              </c14:invertSolidFillFmt>
            </c:ext>
          </c:extLst>
        </c:ser>
        <c:ser>
          <c:idx val="2"/>
          <c:order val="2"/>
          <c:tx>
            <c:strRef>
              <c:f>'Comparative charts'!$B$409</c:f>
              <c:strCache>
                <c:ptCount val="1"/>
                <c:pt idx="0">
                  <c:v>Angola</c:v>
                </c:pt>
              </c:strCache>
            </c:strRef>
          </c:tx>
          <c:spPr>
            <a:solidFill>
              <a:srgbClr val="DBEFD4"/>
            </a:solidFill>
            <a:ln w="20891">
              <a:noFill/>
            </a:ln>
          </c:spPr>
          <c:invertIfNegative val="1"/>
          <c:dLbls>
            <c:dLbl>
              <c:idx val="2"/>
              <c:layout>
                <c:manualLayout>
                  <c:x val="-1.32984206162169E-2"/>
                  <c:y val="0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 w="20891">
                <a:noFill/>
              </a:ln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Comparative charts'!$D$404:$R$404</c:f>
              <c:numCache>
                <c:formatCode>#,##0.00_);[Red]\(#,##0.00\)</c:formatCode>
                <c:ptCount val="15"/>
                <c:pt idx="0">
                  <c:v>54.491999999999997</c:v>
                </c:pt>
                <c:pt idx="1">
                  <c:v>182.203</c:v>
                </c:pt>
                <c:pt idx="2">
                  <c:v>25.021999999999991</c:v>
                </c:pt>
                <c:pt idx="3">
                  <c:v>15.13</c:v>
                </c:pt>
                <c:pt idx="4">
                  <c:v>46.05</c:v>
                </c:pt>
                <c:pt idx="5">
                  <c:v>99.39</c:v>
                </c:pt>
                <c:pt idx="6">
                  <c:v>22.7</c:v>
                </c:pt>
                <c:pt idx="7">
                  <c:v>23.344000000000001</c:v>
                </c:pt>
                <c:pt idx="8">
                  <c:v>53.47</c:v>
                </c:pt>
                <c:pt idx="9">
                  <c:v>0.84499999999999997</c:v>
                </c:pt>
                <c:pt idx="10">
                  <c:v>27.41</c:v>
                </c:pt>
                <c:pt idx="11">
                  <c:v>39.03</c:v>
                </c:pt>
                <c:pt idx="12">
                  <c:v>7.3049999999999846</c:v>
                </c:pt>
                <c:pt idx="13">
                  <c:v>16.21</c:v>
                </c:pt>
                <c:pt idx="14">
                  <c:v>2.2599999999999998</c:v>
                </c:pt>
              </c:numCache>
            </c:numRef>
          </c:xVal>
          <c:yVal>
            <c:numRef>
              <c:f>'Comparative charts'!$D$409:$R$409</c:f>
              <c:numCache>
                <c:formatCode>General</c:formatCode>
                <c:ptCount val="15"/>
                <c:pt idx="2">
                  <c:v>182</c:v>
                </c:pt>
              </c:numCache>
            </c:numRef>
          </c:yVal>
          <c:bubbleSize>
            <c:numRef>
              <c:f>'Comparative charts'!$D$410:$R$410</c:f>
              <c:numCache>
                <c:formatCode>General</c:formatCode>
                <c:ptCount val="15"/>
                <c:pt idx="2" formatCode="_(* #,##0.0_);_(* \(#,##0.0\);_(* &quot;-&quot;??_);_(@_)">
                  <c:v>102.643</c:v>
                </c:pt>
              </c:numCache>
            </c:numRef>
          </c:bubbleSize>
          <c:bubble3D val="1"/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  <a:ln w="20891">
                    <a:noFill/>
                  </a:ln>
                </c14:spPr>
              </c14:invertSolidFillFmt>
            </c:ext>
          </c:extLst>
        </c:ser>
        <c:ser>
          <c:idx val="3"/>
          <c:order val="3"/>
          <c:tx>
            <c:strRef>
              <c:f>'Comparative charts'!$B$411</c:f>
              <c:strCache>
                <c:ptCount val="1"/>
                <c:pt idx="0">
                  <c:v>Senegal</c:v>
                </c:pt>
              </c:strCache>
            </c:strRef>
          </c:tx>
          <c:spPr>
            <a:solidFill>
              <a:srgbClr val="8AB833"/>
            </a:solidFill>
            <a:ln w="20891">
              <a:noFill/>
            </a:ln>
          </c:spPr>
          <c:invertIfNegative val="1"/>
          <c:dLbls>
            <c:dLbl>
              <c:idx val="3"/>
              <c:layout>
                <c:manualLayout>
                  <c:x val="-4.1906755159948003E-3"/>
                  <c:y val="6.7586601319943301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 w="20891">
                <a:noFill/>
              </a:ln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Comparative charts'!$D$404:$R$404</c:f>
              <c:numCache>
                <c:formatCode>#,##0.00_);[Red]\(#,##0.00\)</c:formatCode>
                <c:ptCount val="15"/>
                <c:pt idx="0">
                  <c:v>54.491999999999997</c:v>
                </c:pt>
                <c:pt idx="1">
                  <c:v>182.203</c:v>
                </c:pt>
                <c:pt idx="2">
                  <c:v>25.021999999999991</c:v>
                </c:pt>
                <c:pt idx="3">
                  <c:v>15.13</c:v>
                </c:pt>
                <c:pt idx="4">
                  <c:v>46.05</c:v>
                </c:pt>
                <c:pt idx="5">
                  <c:v>99.39</c:v>
                </c:pt>
                <c:pt idx="6">
                  <c:v>22.7</c:v>
                </c:pt>
                <c:pt idx="7">
                  <c:v>23.344000000000001</c:v>
                </c:pt>
                <c:pt idx="8">
                  <c:v>53.47</c:v>
                </c:pt>
                <c:pt idx="9">
                  <c:v>0.84499999999999997</c:v>
                </c:pt>
                <c:pt idx="10">
                  <c:v>27.41</c:v>
                </c:pt>
                <c:pt idx="11">
                  <c:v>39.03</c:v>
                </c:pt>
                <c:pt idx="12">
                  <c:v>7.3049999999999846</c:v>
                </c:pt>
                <c:pt idx="13">
                  <c:v>16.21</c:v>
                </c:pt>
                <c:pt idx="14">
                  <c:v>2.2599999999999998</c:v>
                </c:pt>
              </c:numCache>
            </c:numRef>
          </c:xVal>
          <c:yVal>
            <c:numRef>
              <c:f>'Comparative charts'!$D$411:$R$411</c:f>
              <c:numCache>
                <c:formatCode>General</c:formatCode>
                <c:ptCount val="15"/>
                <c:pt idx="3">
                  <c:v>147</c:v>
                </c:pt>
              </c:numCache>
            </c:numRef>
          </c:yVal>
          <c:bubbleSize>
            <c:numRef>
              <c:f>'Comparative charts'!$D$412:$R$412</c:f>
              <c:numCache>
                <c:formatCode>General</c:formatCode>
                <c:ptCount val="15"/>
                <c:pt idx="3" formatCode="_(* #,##0.0_);_(* \(#,##0.0\);_(* &quot;-&quot;??_);_(@_)">
                  <c:v>13.7796</c:v>
                </c:pt>
              </c:numCache>
            </c:numRef>
          </c:bubbleSize>
          <c:bubble3D val="1"/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  <a:ln w="20891">
                    <a:noFill/>
                  </a:ln>
                </c14:spPr>
              </c14:invertSolidFillFmt>
            </c:ext>
          </c:extLst>
        </c:ser>
        <c:ser>
          <c:idx val="4"/>
          <c:order val="4"/>
          <c:tx>
            <c:strRef>
              <c:f>'Comparative charts'!$B$413</c:f>
              <c:strCache>
                <c:ptCount val="1"/>
                <c:pt idx="0">
                  <c:v>Kenya</c:v>
                </c:pt>
              </c:strCache>
            </c:strRef>
          </c:tx>
          <c:spPr>
            <a:solidFill>
              <a:srgbClr val="626B1A"/>
            </a:solidFill>
            <a:ln w="20891">
              <a:noFill/>
            </a:ln>
          </c:spPr>
          <c:invertIfNegative val="1"/>
          <c:dLbls>
            <c:dLbl>
              <c:idx val="4"/>
              <c:layout>
                <c:manualLayout>
                  <c:x val="-8.6439734005409705E-2"/>
                  <c:y val="-3.1317989685463801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 w="20891">
                <a:noFill/>
              </a:ln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Comparative charts'!$D$404:$R$404</c:f>
              <c:numCache>
                <c:formatCode>#,##0.00_);[Red]\(#,##0.00\)</c:formatCode>
                <c:ptCount val="15"/>
                <c:pt idx="0">
                  <c:v>54.491999999999997</c:v>
                </c:pt>
                <c:pt idx="1">
                  <c:v>182.203</c:v>
                </c:pt>
                <c:pt idx="2">
                  <c:v>25.021999999999991</c:v>
                </c:pt>
                <c:pt idx="3">
                  <c:v>15.13</c:v>
                </c:pt>
                <c:pt idx="4">
                  <c:v>46.05</c:v>
                </c:pt>
                <c:pt idx="5">
                  <c:v>99.39</c:v>
                </c:pt>
                <c:pt idx="6">
                  <c:v>22.7</c:v>
                </c:pt>
                <c:pt idx="7">
                  <c:v>23.344000000000001</c:v>
                </c:pt>
                <c:pt idx="8">
                  <c:v>53.47</c:v>
                </c:pt>
                <c:pt idx="9">
                  <c:v>0.84499999999999997</c:v>
                </c:pt>
                <c:pt idx="10">
                  <c:v>27.41</c:v>
                </c:pt>
                <c:pt idx="11">
                  <c:v>39.03</c:v>
                </c:pt>
                <c:pt idx="12">
                  <c:v>7.3049999999999846</c:v>
                </c:pt>
                <c:pt idx="13">
                  <c:v>16.21</c:v>
                </c:pt>
                <c:pt idx="14">
                  <c:v>2.2599999999999998</c:v>
                </c:pt>
              </c:numCache>
            </c:numRef>
          </c:xVal>
          <c:yVal>
            <c:numRef>
              <c:f>'Comparative charts'!$D$413:$R$413</c:f>
              <c:numCache>
                <c:formatCode>General</c:formatCode>
                <c:ptCount val="15"/>
                <c:pt idx="4">
                  <c:v>92</c:v>
                </c:pt>
              </c:numCache>
            </c:numRef>
          </c:yVal>
          <c:bubbleSize>
            <c:numRef>
              <c:f>'Comparative charts'!$D$414:$R$414</c:f>
              <c:numCache>
                <c:formatCode>General</c:formatCode>
                <c:ptCount val="15"/>
                <c:pt idx="4" formatCode="_(* #,##0.0_);_(* \(#,##0.0\);_(* &quot;-&quot;??_);_(@_)">
                  <c:v>63.398499999999999</c:v>
                </c:pt>
              </c:numCache>
            </c:numRef>
          </c:bubbleSize>
          <c:bubble3D val="1"/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  <a:ln w="20891">
                    <a:noFill/>
                  </a:ln>
                </c14:spPr>
              </c14:invertSolidFillFmt>
            </c:ext>
          </c:extLst>
        </c:ser>
        <c:ser>
          <c:idx val="5"/>
          <c:order val="5"/>
          <c:tx>
            <c:strRef>
              <c:f>'Comparative charts'!$B$415</c:f>
              <c:strCache>
                <c:ptCount val="1"/>
                <c:pt idx="0">
                  <c:v>Ethiopia</c:v>
                </c:pt>
              </c:strCache>
            </c:strRef>
          </c:tx>
          <c:spPr>
            <a:solidFill>
              <a:srgbClr val="626B1A"/>
            </a:solidFill>
            <a:ln w="20891">
              <a:noFill/>
            </a:ln>
          </c:spPr>
          <c:invertIfNegative val="1"/>
          <c:dLbls>
            <c:dLbl>
              <c:idx val="5"/>
              <c:layout>
                <c:manualLayout>
                  <c:x val="-0.100098405764593"/>
                  <c:y val="-2.81890093050376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 w="20891">
                <a:noFill/>
              </a:ln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Comparative charts'!$D$404:$R$404</c:f>
              <c:numCache>
                <c:formatCode>#,##0.00_);[Red]\(#,##0.00\)</c:formatCode>
                <c:ptCount val="15"/>
                <c:pt idx="0">
                  <c:v>54.491999999999997</c:v>
                </c:pt>
                <c:pt idx="1">
                  <c:v>182.203</c:v>
                </c:pt>
                <c:pt idx="2">
                  <c:v>25.021999999999991</c:v>
                </c:pt>
                <c:pt idx="3">
                  <c:v>15.13</c:v>
                </c:pt>
                <c:pt idx="4">
                  <c:v>46.05</c:v>
                </c:pt>
                <c:pt idx="5">
                  <c:v>99.39</c:v>
                </c:pt>
                <c:pt idx="6">
                  <c:v>22.7</c:v>
                </c:pt>
                <c:pt idx="7">
                  <c:v>23.344000000000001</c:v>
                </c:pt>
                <c:pt idx="8">
                  <c:v>53.47</c:v>
                </c:pt>
                <c:pt idx="9">
                  <c:v>0.84499999999999997</c:v>
                </c:pt>
                <c:pt idx="10">
                  <c:v>27.41</c:v>
                </c:pt>
                <c:pt idx="11">
                  <c:v>39.03</c:v>
                </c:pt>
                <c:pt idx="12">
                  <c:v>7.3049999999999846</c:v>
                </c:pt>
                <c:pt idx="13">
                  <c:v>16.21</c:v>
                </c:pt>
                <c:pt idx="14">
                  <c:v>2.2599999999999998</c:v>
                </c:pt>
              </c:numCache>
            </c:numRef>
          </c:xVal>
          <c:yVal>
            <c:numRef>
              <c:f>'Comparative charts'!$D$415:$R$415</c:f>
              <c:numCache>
                <c:formatCode>General</c:formatCode>
                <c:ptCount val="15"/>
                <c:pt idx="5">
                  <c:v>159</c:v>
                </c:pt>
              </c:numCache>
            </c:numRef>
          </c:yVal>
          <c:bubbleSize>
            <c:numRef>
              <c:f>'Comparative charts'!$D$416:$R$416</c:f>
              <c:numCache>
                <c:formatCode>General</c:formatCode>
                <c:ptCount val="15"/>
                <c:pt idx="5" formatCode="_(* #,##0.0_);_(* \(#,##0.0\);_(* &quot;-&quot;??_);_(@_)">
                  <c:v>57.386000000000003</c:v>
                </c:pt>
              </c:numCache>
            </c:numRef>
          </c:bubbleSize>
          <c:bubble3D val="1"/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  <a:ln w="20891">
                    <a:noFill/>
                  </a:ln>
                </c14:spPr>
              </c14:invertSolidFillFmt>
            </c:ext>
          </c:extLst>
        </c:ser>
        <c:ser>
          <c:idx val="6"/>
          <c:order val="6"/>
          <c:tx>
            <c:strRef>
              <c:f>'Comparative charts'!$B$417</c:f>
              <c:strCache>
                <c:ptCount val="1"/>
                <c:pt idx="0">
                  <c:v>Côte d'Ivoire</c:v>
                </c:pt>
              </c:strCache>
            </c:strRef>
          </c:tx>
          <c:spPr>
            <a:solidFill>
              <a:srgbClr val="84C225"/>
            </a:solidFill>
            <a:ln w="20891">
              <a:noFill/>
            </a:ln>
          </c:spPr>
          <c:invertIfNegative val="1"/>
          <c:dLbls>
            <c:spPr>
              <a:noFill/>
              <a:ln w="20891">
                <a:noFill/>
              </a:ln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xVal>
            <c:numRef>
              <c:f>'Comparative charts'!$D$404:$R$404</c:f>
              <c:numCache>
                <c:formatCode>#,##0.00_);[Red]\(#,##0.00\)</c:formatCode>
                <c:ptCount val="15"/>
                <c:pt idx="0">
                  <c:v>54.491999999999997</c:v>
                </c:pt>
                <c:pt idx="1">
                  <c:v>182.203</c:v>
                </c:pt>
                <c:pt idx="2">
                  <c:v>25.021999999999991</c:v>
                </c:pt>
                <c:pt idx="3">
                  <c:v>15.13</c:v>
                </c:pt>
                <c:pt idx="4">
                  <c:v>46.05</c:v>
                </c:pt>
                <c:pt idx="5">
                  <c:v>99.39</c:v>
                </c:pt>
                <c:pt idx="6">
                  <c:v>22.7</c:v>
                </c:pt>
                <c:pt idx="7">
                  <c:v>23.344000000000001</c:v>
                </c:pt>
                <c:pt idx="8">
                  <c:v>53.47</c:v>
                </c:pt>
                <c:pt idx="9">
                  <c:v>0.84499999999999997</c:v>
                </c:pt>
                <c:pt idx="10">
                  <c:v>27.41</c:v>
                </c:pt>
                <c:pt idx="11">
                  <c:v>39.03</c:v>
                </c:pt>
                <c:pt idx="12">
                  <c:v>7.3049999999999846</c:v>
                </c:pt>
                <c:pt idx="13">
                  <c:v>16.21</c:v>
                </c:pt>
                <c:pt idx="14">
                  <c:v>2.2599999999999998</c:v>
                </c:pt>
              </c:numCache>
            </c:numRef>
          </c:xVal>
          <c:yVal>
            <c:numRef>
              <c:f>'Comparative charts'!$D$417:$R$417</c:f>
              <c:numCache>
                <c:formatCode>General</c:formatCode>
                <c:ptCount val="15"/>
                <c:pt idx="6">
                  <c:v>142</c:v>
                </c:pt>
              </c:numCache>
            </c:numRef>
          </c:yVal>
          <c:bubbleSize>
            <c:numRef>
              <c:f>'Comparative charts'!$D$418:$R$418</c:f>
              <c:numCache>
                <c:formatCode>General</c:formatCode>
                <c:ptCount val="15"/>
                <c:pt idx="6" formatCode="_(* #,##0.0_);_(* \(#,##0.0\);_(* &quot;-&quot;??_);_(@_)">
                  <c:v>31.752500000000001</c:v>
                </c:pt>
              </c:numCache>
            </c:numRef>
          </c:bubbleSize>
          <c:bubble3D val="1"/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  <a:ln w="20891">
                    <a:noFill/>
                  </a:ln>
                </c14:spPr>
              </c14:invertSolidFillFmt>
            </c:ext>
          </c:extLst>
        </c:ser>
        <c:ser>
          <c:idx val="7"/>
          <c:order val="7"/>
          <c:tx>
            <c:strRef>
              <c:f>'Comparative charts'!$B$419</c:f>
              <c:strCache>
                <c:ptCount val="1"/>
                <c:pt idx="0">
                  <c:v>Cameroon</c:v>
                </c:pt>
              </c:strCache>
            </c:strRef>
          </c:tx>
          <c:spPr>
            <a:solidFill>
              <a:srgbClr val="8AB833"/>
            </a:solidFill>
            <a:ln w="20891">
              <a:noFill/>
            </a:ln>
          </c:spPr>
          <c:invertIfNegative val="1"/>
          <c:dLbls>
            <c:spPr>
              <a:noFill/>
              <a:ln w="20891">
                <a:noFill/>
              </a:ln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xVal>
            <c:numRef>
              <c:f>'Comparative charts'!$D$404:$R$404</c:f>
              <c:numCache>
                <c:formatCode>#,##0.00_);[Red]\(#,##0.00\)</c:formatCode>
                <c:ptCount val="15"/>
                <c:pt idx="0">
                  <c:v>54.491999999999997</c:v>
                </c:pt>
                <c:pt idx="1">
                  <c:v>182.203</c:v>
                </c:pt>
                <c:pt idx="2">
                  <c:v>25.021999999999991</c:v>
                </c:pt>
                <c:pt idx="3">
                  <c:v>15.13</c:v>
                </c:pt>
                <c:pt idx="4">
                  <c:v>46.05</c:v>
                </c:pt>
                <c:pt idx="5">
                  <c:v>99.39</c:v>
                </c:pt>
                <c:pt idx="6">
                  <c:v>22.7</c:v>
                </c:pt>
                <c:pt idx="7">
                  <c:v>23.344000000000001</c:v>
                </c:pt>
                <c:pt idx="8">
                  <c:v>53.47</c:v>
                </c:pt>
                <c:pt idx="9">
                  <c:v>0.84499999999999997</c:v>
                </c:pt>
                <c:pt idx="10">
                  <c:v>27.41</c:v>
                </c:pt>
                <c:pt idx="11">
                  <c:v>39.03</c:v>
                </c:pt>
                <c:pt idx="12">
                  <c:v>7.3049999999999846</c:v>
                </c:pt>
                <c:pt idx="13">
                  <c:v>16.21</c:v>
                </c:pt>
                <c:pt idx="14">
                  <c:v>2.2599999999999998</c:v>
                </c:pt>
              </c:numCache>
            </c:numRef>
          </c:xVal>
          <c:yVal>
            <c:numRef>
              <c:f>'Comparative charts'!$D$419:$R$419</c:f>
              <c:numCache>
                <c:formatCode>General</c:formatCode>
                <c:ptCount val="15"/>
                <c:pt idx="7">
                  <c:v>166</c:v>
                </c:pt>
              </c:numCache>
            </c:numRef>
          </c:yVal>
          <c:bubbleSize>
            <c:numRef>
              <c:f>'Comparative charts'!$D$420:$R$420</c:f>
              <c:numCache>
                <c:formatCode>General</c:formatCode>
                <c:ptCount val="15"/>
                <c:pt idx="7" formatCode="_(* #,##0.0_);_(* \(#,##0.0\);_(* &quot;-&quot;??_);_(@_)">
                  <c:v>29.1983</c:v>
                </c:pt>
              </c:numCache>
            </c:numRef>
          </c:bubbleSize>
          <c:bubble3D val="1"/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  <a:ln w="20891">
                    <a:noFill/>
                  </a:ln>
                </c14:spPr>
              </c14:invertSolidFillFmt>
            </c:ext>
          </c:extLst>
        </c:ser>
        <c:ser>
          <c:idx val="8"/>
          <c:order val="8"/>
          <c:tx>
            <c:strRef>
              <c:f>'Comparative charts'!$B$421</c:f>
              <c:strCache>
                <c:ptCount val="1"/>
                <c:pt idx="0">
                  <c:v>Tanzania</c:v>
                </c:pt>
              </c:strCache>
            </c:strRef>
          </c:tx>
          <c:spPr>
            <a:solidFill>
              <a:srgbClr val="626B1A"/>
            </a:solidFill>
            <a:ln w="20891">
              <a:noFill/>
            </a:ln>
          </c:spPr>
          <c:invertIfNegative val="1"/>
          <c:dLbls>
            <c:spPr>
              <a:noFill/>
              <a:ln w="20891">
                <a:noFill/>
              </a:ln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xVal>
            <c:numRef>
              <c:f>'Comparative charts'!$D$404:$R$404</c:f>
              <c:numCache>
                <c:formatCode>#,##0.00_);[Red]\(#,##0.00\)</c:formatCode>
                <c:ptCount val="15"/>
                <c:pt idx="0">
                  <c:v>54.491999999999997</c:v>
                </c:pt>
                <c:pt idx="1">
                  <c:v>182.203</c:v>
                </c:pt>
                <c:pt idx="2">
                  <c:v>25.021999999999991</c:v>
                </c:pt>
                <c:pt idx="3">
                  <c:v>15.13</c:v>
                </c:pt>
                <c:pt idx="4">
                  <c:v>46.05</c:v>
                </c:pt>
                <c:pt idx="5">
                  <c:v>99.39</c:v>
                </c:pt>
                <c:pt idx="6">
                  <c:v>22.7</c:v>
                </c:pt>
                <c:pt idx="7">
                  <c:v>23.344000000000001</c:v>
                </c:pt>
                <c:pt idx="8">
                  <c:v>53.47</c:v>
                </c:pt>
                <c:pt idx="9">
                  <c:v>0.84499999999999997</c:v>
                </c:pt>
                <c:pt idx="10">
                  <c:v>27.41</c:v>
                </c:pt>
                <c:pt idx="11">
                  <c:v>39.03</c:v>
                </c:pt>
                <c:pt idx="12">
                  <c:v>7.3049999999999846</c:v>
                </c:pt>
                <c:pt idx="13">
                  <c:v>16.21</c:v>
                </c:pt>
                <c:pt idx="14">
                  <c:v>2.2599999999999998</c:v>
                </c:pt>
              </c:numCache>
            </c:numRef>
          </c:xVal>
          <c:yVal>
            <c:numRef>
              <c:f>'Comparative charts'!$D$421:$R$421</c:f>
              <c:numCache>
                <c:formatCode>General</c:formatCode>
                <c:ptCount val="15"/>
                <c:pt idx="8">
                  <c:v>132</c:v>
                </c:pt>
              </c:numCache>
            </c:numRef>
          </c:yVal>
          <c:bubbleSize>
            <c:numRef>
              <c:f>'Comparative charts'!$D$422:$R$422</c:f>
              <c:numCache>
                <c:formatCode>General</c:formatCode>
                <c:ptCount val="15"/>
                <c:pt idx="8" formatCode="_(* #,##0.0_);_(* \(#,##0.0\);_(* &quot;-&quot;??_);_(@_)">
                  <c:v>45.666000000000011</c:v>
                </c:pt>
              </c:numCache>
            </c:numRef>
          </c:bubbleSize>
          <c:bubble3D val="1"/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  <a:ln w="20891">
                    <a:noFill/>
                  </a:ln>
                </c14:spPr>
              </c14:invertSolidFillFmt>
            </c:ext>
          </c:extLst>
        </c:ser>
        <c:ser>
          <c:idx val="9"/>
          <c:order val="9"/>
          <c:tx>
            <c:strRef>
              <c:f>'Comparative charts'!$B$423</c:f>
              <c:strCache>
                <c:ptCount val="1"/>
                <c:pt idx="0">
                  <c:v>Equatorial Guinea</c:v>
                </c:pt>
              </c:strCache>
            </c:strRef>
          </c:tx>
          <c:spPr>
            <a:solidFill>
              <a:srgbClr val="84C225"/>
            </a:solidFill>
            <a:ln w="20891">
              <a:noFill/>
            </a:ln>
          </c:spPr>
          <c:invertIfNegative val="1"/>
          <c:dLbls>
            <c:dLbl>
              <c:idx val="9"/>
              <c:layout>
                <c:manualLayout>
                  <c:x val="-1.4960723193243999E-2"/>
                  <c:y val="-1.6291293458147602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 w="20891">
                <a:noFill/>
              </a:ln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Comparative charts'!$D$404:$R$404</c:f>
              <c:numCache>
                <c:formatCode>#,##0.00_);[Red]\(#,##0.00\)</c:formatCode>
                <c:ptCount val="15"/>
                <c:pt idx="0">
                  <c:v>54.491999999999997</c:v>
                </c:pt>
                <c:pt idx="1">
                  <c:v>182.203</c:v>
                </c:pt>
                <c:pt idx="2">
                  <c:v>25.021999999999991</c:v>
                </c:pt>
                <c:pt idx="3">
                  <c:v>15.13</c:v>
                </c:pt>
                <c:pt idx="4">
                  <c:v>46.05</c:v>
                </c:pt>
                <c:pt idx="5">
                  <c:v>99.39</c:v>
                </c:pt>
                <c:pt idx="6">
                  <c:v>22.7</c:v>
                </c:pt>
                <c:pt idx="7">
                  <c:v>23.344000000000001</c:v>
                </c:pt>
                <c:pt idx="8">
                  <c:v>53.47</c:v>
                </c:pt>
                <c:pt idx="9">
                  <c:v>0.84499999999999997</c:v>
                </c:pt>
                <c:pt idx="10">
                  <c:v>27.41</c:v>
                </c:pt>
                <c:pt idx="11">
                  <c:v>39.03</c:v>
                </c:pt>
                <c:pt idx="12">
                  <c:v>7.3049999999999846</c:v>
                </c:pt>
                <c:pt idx="13">
                  <c:v>16.21</c:v>
                </c:pt>
                <c:pt idx="14">
                  <c:v>2.2599999999999998</c:v>
                </c:pt>
              </c:numCache>
            </c:numRef>
          </c:xVal>
          <c:yVal>
            <c:numRef>
              <c:f>'Comparative charts'!$D$423:$R$423</c:f>
              <c:numCache>
                <c:formatCode>General</c:formatCode>
                <c:ptCount val="15"/>
                <c:pt idx="9">
                  <c:v>178</c:v>
                </c:pt>
              </c:numCache>
            </c:numRef>
          </c:yVal>
          <c:bubbleSize>
            <c:numRef>
              <c:f>'Comparative charts'!$D$424:$R$424</c:f>
              <c:numCache>
                <c:formatCode>General</c:formatCode>
                <c:ptCount val="15"/>
                <c:pt idx="9" formatCode="_(* #,##0.0_);_(* \(#,##0.0\);_(* &quot;-&quot;??_);_(@_)">
                  <c:v>9.3978000000000002</c:v>
                </c:pt>
              </c:numCache>
            </c:numRef>
          </c:bubbleSize>
          <c:bubble3D val="1"/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  <a:ln w="20891">
                    <a:noFill/>
                  </a:ln>
                </c14:spPr>
              </c14:invertSolidFillFmt>
            </c:ext>
          </c:extLst>
        </c:ser>
        <c:ser>
          <c:idx val="10"/>
          <c:order val="10"/>
          <c:tx>
            <c:strRef>
              <c:f>'Comparative charts'!$B$425</c:f>
              <c:strCache>
                <c:ptCount val="1"/>
                <c:pt idx="0">
                  <c:v>Ghana</c:v>
                </c:pt>
              </c:strCache>
            </c:strRef>
          </c:tx>
          <c:spPr>
            <a:solidFill>
              <a:srgbClr val="8AB833"/>
            </a:solidFill>
            <a:ln w="10446">
              <a:noFill/>
              <a:prstDash val="solid"/>
            </a:ln>
          </c:spPr>
          <c:invertIfNegative val="1"/>
          <c:dLbls>
            <c:spPr>
              <a:noFill/>
              <a:ln w="20891">
                <a:noFill/>
              </a:ln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xVal>
            <c:numRef>
              <c:f>'Comparative charts'!$D$404:$R$404</c:f>
              <c:numCache>
                <c:formatCode>#,##0.00_);[Red]\(#,##0.00\)</c:formatCode>
                <c:ptCount val="15"/>
                <c:pt idx="0">
                  <c:v>54.491999999999997</c:v>
                </c:pt>
                <c:pt idx="1">
                  <c:v>182.203</c:v>
                </c:pt>
                <c:pt idx="2">
                  <c:v>25.021999999999991</c:v>
                </c:pt>
                <c:pt idx="3">
                  <c:v>15.13</c:v>
                </c:pt>
                <c:pt idx="4">
                  <c:v>46.05</c:v>
                </c:pt>
                <c:pt idx="5">
                  <c:v>99.39</c:v>
                </c:pt>
                <c:pt idx="6">
                  <c:v>22.7</c:v>
                </c:pt>
                <c:pt idx="7">
                  <c:v>23.344000000000001</c:v>
                </c:pt>
                <c:pt idx="8">
                  <c:v>53.47</c:v>
                </c:pt>
                <c:pt idx="9">
                  <c:v>0.84499999999999997</c:v>
                </c:pt>
                <c:pt idx="10">
                  <c:v>27.41</c:v>
                </c:pt>
                <c:pt idx="11">
                  <c:v>39.03</c:v>
                </c:pt>
                <c:pt idx="12">
                  <c:v>7.3049999999999846</c:v>
                </c:pt>
                <c:pt idx="13">
                  <c:v>16.21</c:v>
                </c:pt>
                <c:pt idx="14">
                  <c:v>2.2599999999999998</c:v>
                </c:pt>
              </c:numCache>
            </c:numRef>
          </c:xVal>
          <c:yVal>
            <c:numRef>
              <c:f>'Comparative charts'!$D$425:$R$425</c:f>
              <c:numCache>
                <c:formatCode>General</c:formatCode>
                <c:ptCount val="15"/>
                <c:pt idx="10">
                  <c:v>108</c:v>
                </c:pt>
              </c:numCache>
            </c:numRef>
          </c:yVal>
          <c:bubbleSize>
            <c:numRef>
              <c:f>'Comparative charts'!$D$426:$R$426</c:f>
              <c:numCache>
                <c:formatCode>General</c:formatCode>
                <c:ptCount val="15"/>
                <c:pt idx="10" formatCode="_(* #,##0.0_);_(* \(#,##0.0\);_(* &quot;-&quot;??_);_(@_)">
                  <c:v>37.382899999999999</c:v>
                </c:pt>
              </c:numCache>
            </c:numRef>
          </c:bubbleSize>
          <c:bubble3D val="1"/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  <a:ln w="10446">
                    <a:noFill/>
                    <a:prstDash val="solid"/>
                  </a:ln>
                </c14:spPr>
              </c14:invertSolidFillFmt>
            </c:ext>
          </c:extLst>
        </c:ser>
        <c:ser>
          <c:idx val="11"/>
          <c:order val="11"/>
          <c:tx>
            <c:strRef>
              <c:f>'Comparative charts'!$B$427</c:f>
              <c:strCache>
                <c:ptCount val="1"/>
                <c:pt idx="0">
                  <c:v>Uganda</c:v>
                </c:pt>
              </c:strCache>
            </c:strRef>
          </c:tx>
          <c:spPr>
            <a:solidFill>
              <a:srgbClr val="626B1A"/>
            </a:solidFill>
            <a:ln w="20891">
              <a:noFill/>
            </a:ln>
          </c:spPr>
          <c:invertIfNegative val="1"/>
          <c:dLbls>
            <c:spPr>
              <a:noFill/>
              <a:ln w="20891">
                <a:noFill/>
              </a:ln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xVal>
            <c:numRef>
              <c:f>'Comparative charts'!$D$404:$R$404</c:f>
              <c:numCache>
                <c:formatCode>#,##0.00_);[Red]\(#,##0.00\)</c:formatCode>
                <c:ptCount val="15"/>
                <c:pt idx="0">
                  <c:v>54.491999999999997</c:v>
                </c:pt>
                <c:pt idx="1">
                  <c:v>182.203</c:v>
                </c:pt>
                <c:pt idx="2">
                  <c:v>25.021999999999991</c:v>
                </c:pt>
                <c:pt idx="3">
                  <c:v>15.13</c:v>
                </c:pt>
                <c:pt idx="4">
                  <c:v>46.05</c:v>
                </c:pt>
                <c:pt idx="5">
                  <c:v>99.39</c:v>
                </c:pt>
                <c:pt idx="6">
                  <c:v>22.7</c:v>
                </c:pt>
                <c:pt idx="7">
                  <c:v>23.344000000000001</c:v>
                </c:pt>
                <c:pt idx="8">
                  <c:v>53.47</c:v>
                </c:pt>
                <c:pt idx="9">
                  <c:v>0.84499999999999997</c:v>
                </c:pt>
                <c:pt idx="10">
                  <c:v>27.41</c:v>
                </c:pt>
                <c:pt idx="11">
                  <c:v>39.03</c:v>
                </c:pt>
                <c:pt idx="12">
                  <c:v>7.3049999999999846</c:v>
                </c:pt>
                <c:pt idx="13">
                  <c:v>16.21</c:v>
                </c:pt>
                <c:pt idx="14">
                  <c:v>2.2599999999999998</c:v>
                </c:pt>
              </c:numCache>
            </c:numRef>
          </c:xVal>
          <c:yVal>
            <c:numRef>
              <c:f>'Comparative charts'!$D$427:$R$427</c:f>
              <c:numCache>
                <c:formatCode>General</c:formatCode>
                <c:ptCount val="15"/>
                <c:pt idx="11">
                  <c:v>115</c:v>
                </c:pt>
              </c:numCache>
            </c:numRef>
          </c:yVal>
          <c:bubbleSize>
            <c:numRef>
              <c:f>'Comparative charts'!$D$428:$R$428</c:f>
              <c:numCache>
                <c:formatCode>General</c:formatCode>
                <c:ptCount val="15"/>
                <c:pt idx="11" formatCode="_(* #,##0.0_);_(* \(#,##0.0\);_(* &quot;-&quot;??_);_(@_)">
                  <c:v>25.282</c:v>
                </c:pt>
              </c:numCache>
            </c:numRef>
          </c:bubbleSize>
          <c:bubble3D val="1"/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  <a:ln w="20891">
                    <a:noFill/>
                  </a:ln>
                </c14:spPr>
              </c14:invertSolidFillFmt>
            </c:ext>
          </c:extLst>
        </c:ser>
        <c:ser>
          <c:idx val="12"/>
          <c:order val="12"/>
          <c:tx>
            <c:strRef>
              <c:f>'Comparative charts'!$B$429</c:f>
              <c:strCache>
                <c:ptCount val="1"/>
                <c:pt idx="0">
                  <c:v>Togo</c:v>
                </c:pt>
              </c:strCache>
            </c:strRef>
          </c:tx>
          <c:spPr>
            <a:solidFill>
              <a:srgbClr val="8AB833"/>
            </a:solidFill>
            <a:ln w="20891">
              <a:noFill/>
            </a:ln>
          </c:spPr>
          <c:invertIfNegative val="1"/>
          <c:dLbls>
            <c:spPr>
              <a:noFill/>
              <a:ln w="20891">
                <a:noFill/>
              </a:ln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xVal>
            <c:numRef>
              <c:f>'Comparative charts'!$D$404:$R$404</c:f>
              <c:numCache>
                <c:formatCode>#,##0.00_);[Red]\(#,##0.00\)</c:formatCode>
                <c:ptCount val="15"/>
                <c:pt idx="0">
                  <c:v>54.491999999999997</c:v>
                </c:pt>
                <c:pt idx="1">
                  <c:v>182.203</c:v>
                </c:pt>
                <c:pt idx="2">
                  <c:v>25.021999999999991</c:v>
                </c:pt>
                <c:pt idx="3">
                  <c:v>15.13</c:v>
                </c:pt>
                <c:pt idx="4">
                  <c:v>46.05</c:v>
                </c:pt>
                <c:pt idx="5">
                  <c:v>99.39</c:v>
                </c:pt>
                <c:pt idx="6">
                  <c:v>22.7</c:v>
                </c:pt>
                <c:pt idx="7">
                  <c:v>23.344000000000001</c:v>
                </c:pt>
                <c:pt idx="8">
                  <c:v>53.47</c:v>
                </c:pt>
                <c:pt idx="9">
                  <c:v>0.84499999999999997</c:v>
                </c:pt>
                <c:pt idx="10">
                  <c:v>27.41</c:v>
                </c:pt>
                <c:pt idx="11">
                  <c:v>39.03</c:v>
                </c:pt>
                <c:pt idx="12">
                  <c:v>7.3049999999999846</c:v>
                </c:pt>
                <c:pt idx="13">
                  <c:v>16.21</c:v>
                </c:pt>
                <c:pt idx="14">
                  <c:v>2.2599999999999998</c:v>
                </c:pt>
              </c:numCache>
            </c:numRef>
          </c:xVal>
          <c:yVal>
            <c:numRef>
              <c:f>'Comparative charts'!$D$429:$R$429</c:f>
              <c:numCache>
                <c:formatCode>General</c:formatCode>
                <c:ptCount val="15"/>
                <c:pt idx="12">
                  <c:v>154</c:v>
                </c:pt>
              </c:numCache>
            </c:numRef>
          </c:yVal>
          <c:bubbleSize>
            <c:numRef>
              <c:f>'Comparative charts'!$D$430:$R$430</c:f>
              <c:numCache>
                <c:formatCode>General</c:formatCode>
                <c:ptCount val="15"/>
                <c:pt idx="12" formatCode="_(* #,##0.0_);_(* \(#,##0.0\);_(* &quot;-&quot;??_);_(@_)">
                  <c:v>4.0026999999999999</c:v>
                </c:pt>
              </c:numCache>
            </c:numRef>
          </c:bubbleSize>
          <c:bubble3D val="1"/>
          <c:extLst>
            <c:ext xmlns:c14="http://schemas.microsoft.com/office/drawing/2007/8/2/chart" uri="{6F2FDCE9-48DA-4B69-8628-5D25D57E5C99}">
              <c14:invertSolidFillFmt>
                <c14:spPr xmlns:c14="http://schemas.microsoft.com/office/drawing/2007/8/2/chart">
                  <a:solidFill>
                    <a:srgbClr val="FFFFFF"/>
                  </a:solidFill>
                  <a:ln w="20891">
                    <a:noFill/>
                  </a:ln>
                </c14:spPr>
              </c14:invertSolidFillFmt>
            </c:ext>
          </c:extLst>
        </c:ser>
        <c:ser>
          <c:idx val="13"/>
          <c:order val="13"/>
          <c:tx>
            <c:strRef>
              <c:f>'Comparative charts'!$B$431</c:f>
              <c:strCache>
                <c:ptCount val="1"/>
                <c:pt idx="0">
                  <c:v>Zambia</c:v>
                </c:pt>
              </c:strCache>
            </c:strRef>
          </c:tx>
          <c:spPr>
            <a:ln w="25400">
              <a:noFill/>
            </a:ln>
          </c:spPr>
          <c:invertIfNegative val="1"/>
          <c:dLbls>
            <c:dLbl>
              <c:idx val="13"/>
              <c:layout>
                <c:manualLayout>
                  <c:x val="-3.9382979317217001E-2"/>
                  <c:y val="-4.7921315818562203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 w="20891">
                <a:noFill/>
              </a:ln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'Comparative charts'!$D$404:$R$404</c:f>
              <c:numCache>
                <c:formatCode>#,##0.00_);[Red]\(#,##0.00\)</c:formatCode>
                <c:ptCount val="15"/>
                <c:pt idx="0">
                  <c:v>54.491999999999997</c:v>
                </c:pt>
                <c:pt idx="1">
                  <c:v>182.203</c:v>
                </c:pt>
                <c:pt idx="2">
                  <c:v>25.021999999999991</c:v>
                </c:pt>
                <c:pt idx="3">
                  <c:v>15.13</c:v>
                </c:pt>
                <c:pt idx="4">
                  <c:v>46.05</c:v>
                </c:pt>
                <c:pt idx="5">
                  <c:v>99.39</c:v>
                </c:pt>
                <c:pt idx="6">
                  <c:v>22.7</c:v>
                </c:pt>
                <c:pt idx="7">
                  <c:v>23.344000000000001</c:v>
                </c:pt>
                <c:pt idx="8">
                  <c:v>53.47</c:v>
                </c:pt>
                <c:pt idx="9">
                  <c:v>0.84499999999999997</c:v>
                </c:pt>
                <c:pt idx="10">
                  <c:v>27.41</c:v>
                </c:pt>
                <c:pt idx="11">
                  <c:v>39.03</c:v>
                </c:pt>
                <c:pt idx="12">
                  <c:v>7.3049999999999846</c:v>
                </c:pt>
                <c:pt idx="13">
                  <c:v>16.21</c:v>
                </c:pt>
                <c:pt idx="14">
                  <c:v>2.2599999999999998</c:v>
                </c:pt>
              </c:numCache>
            </c:numRef>
          </c:xVal>
          <c:yVal>
            <c:numRef>
              <c:f>'Comparative charts'!$D$431:$R$431</c:f>
              <c:numCache>
                <c:formatCode>General</c:formatCode>
                <c:ptCount val="15"/>
                <c:pt idx="13">
                  <c:v>98</c:v>
                </c:pt>
              </c:numCache>
            </c:numRef>
          </c:yVal>
          <c:bubbleSize>
            <c:numRef>
              <c:f>'Comparative charts'!$D$432:$R$432</c:f>
              <c:numCache>
                <c:formatCode>General</c:formatCode>
                <c:ptCount val="15"/>
                <c:pt idx="13" formatCode="_(* #,##0.0_);_(* \(#,##0.0\);_(* &quot;-&quot;??_);_(@_)">
                  <c:v>21.245200000000001</c:v>
                </c:pt>
              </c:numCache>
            </c:numRef>
          </c:bubbleSize>
          <c:bubble3D val="1"/>
          <c:extLst/>
        </c:ser>
        <c:ser>
          <c:idx val="14"/>
          <c:order val="14"/>
          <c:tx>
            <c:strRef>
              <c:f>'Comparative charts'!$B$433</c:f>
              <c:strCache>
                <c:ptCount val="1"/>
                <c:pt idx="0">
                  <c:v>Botswana</c:v>
                </c:pt>
              </c:strCache>
            </c:strRef>
          </c:tx>
          <c:spPr>
            <a:ln w="25400">
              <a:noFill/>
            </a:ln>
          </c:spPr>
          <c:invertIfNegative val="1"/>
          <c:dLbls>
            <c:spPr>
              <a:noFill/>
              <a:ln w="20891">
                <a:noFill/>
              </a:ln>
            </c:sp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xVal>
            <c:numRef>
              <c:f>'Comparative charts'!$D$404:$R$404</c:f>
              <c:numCache>
                <c:formatCode>#,##0.00_);[Red]\(#,##0.00\)</c:formatCode>
                <c:ptCount val="15"/>
                <c:pt idx="0">
                  <c:v>54.491999999999997</c:v>
                </c:pt>
                <c:pt idx="1">
                  <c:v>182.203</c:v>
                </c:pt>
                <c:pt idx="2">
                  <c:v>25.021999999999991</c:v>
                </c:pt>
                <c:pt idx="3">
                  <c:v>15.13</c:v>
                </c:pt>
                <c:pt idx="4">
                  <c:v>46.05</c:v>
                </c:pt>
                <c:pt idx="5">
                  <c:v>99.39</c:v>
                </c:pt>
                <c:pt idx="6">
                  <c:v>22.7</c:v>
                </c:pt>
                <c:pt idx="7">
                  <c:v>23.344000000000001</c:v>
                </c:pt>
                <c:pt idx="8">
                  <c:v>53.47</c:v>
                </c:pt>
                <c:pt idx="9">
                  <c:v>0.84499999999999997</c:v>
                </c:pt>
                <c:pt idx="10">
                  <c:v>27.41</c:v>
                </c:pt>
                <c:pt idx="11">
                  <c:v>39.03</c:v>
                </c:pt>
                <c:pt idx="12">
                  <c:v>7.3049999999999846</c:v>
                </c:pt>
                <c:pt idx="13">
                  <c:v>16.21</c:v>
                </c:pt>
                <c:pt idx="14">
                  <c:v>2.2599999999999998</c:v>
                </c:pt>
              </c:numCache>
            </c:numRef>
          </c:xVal>
          <c:yVal>
            <c:numRef>
              <c:f>'Comparative charts'!$D$433:$R$433</c:f>
              <c:numCache>
                <c:formatCode>General</c:formatCode>
                <c:ptCount val="15"/>
                <c:pt idx="14">
                  <c:v>71</c:v>
                </c:pt>
              </c:numCache>
            </c:numRef>
          </c:yVal>
          <c:bubbleSize>
            <c:numRef>
              <c:f>'Comparative charts'!$D$434:$R$434</c:f>
              <c:numCache>
                <c:formatCode>General</c:formatCode>
                <c:ptCount val="15"/>
                <c:pt idx="14" formatCode="_(* #,##0.0_);_(* \(#,##0.0\);_(* &quot;-&quot;??_);_(@_)">
                  <c:v>14.389699999999999</c:v>
                </c:pt>
              </c:numCache>
            </c:numRef>
          </c:bubbleSize>
          <c:bubble3D val="1"/>
          <c:extLst/>
        </c:ser>
        <c:dLbls>
          <c:showLegendKey val="0"/>
          <c:showVal val="0"/>
          <c:showCatName val="0"/>
          <c:showSerName val="1"/>
          <c:showPercent val="0"/>
          <c:showBubbleSize val="0"/>
        </c:dLbls>
        <c:bubbleScale val="55"/>
        <c:showNegBubbles val="0"/>
        <c:axId val="115810304"/>
        <c:axId val="115812224"/>
      </c:bubbleChart>
      <c:valAx>
        <c:axId val="115810304"/>
        <c:scaling>
          <c:orientation val="minMax"/>
          <c:min val="0"/>
        </c:scaling>
        <c:delete val="0"/>
        <c:axPos val="t"/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Population (millions)</a:t>
                </a:r>
              </a:p>
            </c:rich>
          </c:tx>
          <c:layout>
            <c:manualLayout>
              <c:xMode val="edge"/>
              <c:yMode val="edge"/>
              <c:x val="0.47101450071707801"/>
              <c:y val="0.94398894764762198"/>
            </c:manualLayout>
          </c:layout>
          <c:overlay val="0"/>
          <c:spPr>
            <a:noFill/>
            <a:ln w="20891">
              <a:noFill/>
            </a:ln>
          </c:spPr>
        </c:title>
        <c:numFmt formatCode="0" sourceLinked="0"/>
        <c:majorTickMark val="none"/>
        <c:minorTickMark val="none"/>
        <c:tickLblPos val="high"/>
        <c:spPr>
          <a:ln w="2611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en-US"/>
          </a:p>
        </c:txPr>
        <c:crossAx val="115812224"/>
        <c:crossesAt val="200"/>
        <c:crossBetween val="midCat"/>
      </c:valAx>
      <c:valAx>
        <c:axId val="115812224"/>
        <c:scaling>
          <c:orientation val="maxMin"/>
        </c:scaling>
        <c:delete val="0"/>
        <c:axPos val="l"/>
        <c:title>
          <c:tx>
            <c:rich>
              <a:bodyPr/>
              <a:lstStyle/>
              <a:p>
                <a:pPr>
                  <a:defRPr/>
                </a:pPr>
                <a:endParaRPr lang="en-US" dirty="0"/>
              </a:p>
            </c:rich>
          </c:tx>
          <c:layout>
            <c:manualLayout>
              <c:xMode val="edge"/>
              <c:yMode val="edge"/>
              <c:x val="5.8224070271174798E-4"/>
              <c:y val="0.32172677127667298"/>
            </c:manualLayout>
          </c:layout>
          <c:overlay val="0"/>
          <c:spPr>
            <a:noFill/>
            <a:ln w="20891">
              <a:noFill/>
            </a:ln>
          </c:spPr>
        </c:title>
        <c:numFmt formatCode="0" sourceLinked="0"/>
        <c:majorTickMark val="none"/>
        <c:minorTickMark val="none"/>
        <c:tickLblPos val="nextTo"/>
        <c:spPr>
          <a:ln w="2611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en-US"/>
          </a:p>
        </c:txPr>
        <c:crossAx val="115810304"/>
        <c:crossesAt val="0"/>
        <c:crossBetween val="midCat"/>
      </c:valAx>
      <c:spPr>
        <a:noFill/>
        <a:ln w="20891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900" b="0" i="0" u="none" strike="noStrike" baseline="0">
          <a:solidFill>
            <a:schemeClr val="tx1"/>
          </a:solidFill>
          <a:latin typeface="Calibri" panose="020F0502020204030204" pitchFamily="34" charset="0"/>
          <a:ea typeface="Arial"/>
          <a:cs typeface="Calibri" panose="020F0502020204030204" pitchFamily="34" charset="0"/>
        </a:defRPr>
      </a:pPr>
      <a:endParaRPr lang="en-US"/>
    </a:p>
  </c:txPr>
  <c:externalData r:id="rId1">
    <c:autoUpdate val="0"/>
  </c:externalData>
  <c:userShapes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emf"/><Relationship Id="rId1" Type="http://schemas.openxmlformats.org/officeDocument/2006/relationships/image" Target="../media/image8.emf"/><Relationship Id="rId6" Type="http://schemas.openxmlformats.org/officeDocument/2006/relationships/image" Target="../media/image13.emf"/><Relationship Id="rId5" Type="http://schemas.openxmlformats.org/officeDocument/2006/relationships/image" Target="../media/image12.emf"/><Relationship Id="rId4" Type="http://schemas.openxmlformats.org/officeDocument/2006/relationships/image" Target="../media/image1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2322</cdr:x>
      <cdr:y>0.62453</cdr:y>
    </cdr:from>
    <cdr:to>
      <cdr:x>0.16676</cdr:x>
      <cdr:y>0.69605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018880" y="2515003"/>
          <a:ext cx="360000" cy="288000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  <a:ln xmlns:a="http://schemas.openxmlformats.org/drawingml/2006/main" w="9525">
          <a:solidFill>
            <a:srgbClr val="FF0000"/>
          </a:solidFill>
          <a:prstDash val="sysDot"/>
        </a:ln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en-US" sz="1100" b="1" dirty="0" smtClean="0">
              <a:solidFill>
                <a:schemeClr val="tx1"/>
              </a:solidFill>
            </a:rPr>
            <a:t>5.9</a:t>
          </a:r>
          <a:endParaRPr lang="en-US" sz="1100" b="1" dirty="0">
            <a:solidFill>
              <a:schemeClr val="tx1"/>
            </a:solidFill>
          </a:endParaRPr>
        </a:p>
      </cdr:txBody>
    </cdr:sp>
  </cdr:relSizeAnchor>
  <cdr:relSizeAnchor xmlns:cdr="http://schemas.openxmlformats.org/drawingml/2006/chartDrawing">
    <cdr:from>
      <cdr:x>0.08532</cdr:x>
      <cdr:y>0.69552</cdr:y>
    </cdr:from>
    <cdr:to>
      <cdr:x>0.21486</cdr:x>
      <cdr:y>0.69876</cdr:y>
    </cdr:to>
    <cdr:sp macro="" textlink="">
      <cdr:nvSpPr>
        <cdr:cNvPr id="4" name="Straight Arrow Connector 3"/>
        <cdr:cNvSpPr/>
      </cdr:nvSpPr>
      <cdr:spPr>
        <a:xfrm xmlns:a="http://schemas.openxmlformats.org/drawingml/2006/main">
          <a:off x="705507" y="2800889"/>
          <a:ext cx="1071139" cy="13048"/>
        </a:xfrm>
        <a:prstGeom xmlns:a="http://schemas.openxmlformats.org/drawingml/2006/main" prst="straightConnector1">
          <a:avLst/>
        </a:prstGeom>
        <a:ln xmlns:a="http://schemas.openxmlformats.org/drawingml/2006/main">
          <a:solidFill>
            <a:schemeClr val="tx1"/>
          </a:solidFill>
          <a:headEnd type="arrow"/>
          <a:tailEnd type="arrow"/>
        </a:ln>
      </cdr:spPr>
      <cdr:style>
        <a:lnRef xmlns:a="http://schemas.openxmlformats.org/drawingml/2006/main" idx="1">
          <a:schemeClr val="accent2"/>
        </a:lnRef>
        <a:fillRef xmlns:a="http://schemas.openxmlformats.org/drawingml/2006/main" idx="0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3128</cdr:x>
      <cdr:y>0.62453</cdr:y>
    </cdr:from>
    <cdr:to>
      <cdr:x>0.35634</cdr:x>
      <cdr:y>0.69605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2586476" y="2515003"/>
          <a:ext cx="360000" cy="288000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  <a:ln xmlns:a="http://schemas.openxmlformats.org/drawingml/2006/main" w="9525">
          <a:solidFill>
            <a:srgbClr val="FF0000"/>
          </a:solidFill>
          <a:prstDash val="sysDot"/>
        </a:ln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en-US" sz="1100" b="1" dirty="0" smtClean="0">
              <a:solidFill>
                <a:schemeClr val="tx1"/>
              </a:solidFill>
            </a:rPr>
            <a:t>4.9</a:t>
          </a:r>
          <a:endParaRPr lang="en-US" sz="1100" b="1" dirty="0">
            <a:solidFill>
              <a:schemeClr val="tx1"/>
            </a:solidFill>
          </a:endParaRPr>
        </a:p>
      </cdr:txBody>
    </cdr:sp>
  </cdr:relSizeAnchor>
  <cdr:relSizeAnchor xmlns:cdr="http://schemas.openxmlformats.org/drawingml/2006/chartDrawing">
    <cdr:from>
      <cdr:x>0.50869</cdr:x>
      <cdr:y>0.62453</cdr:y>
    </cdr:from>
    <cdr:to>
      <cdr:x>0.55223</cdr:x>
      <cdr:y>0.69605</cdr:y>
    </cdr:to>
    <cdr:sp macro="" textlink="">
      <cdr:nvSpPr>
        <cdr:cNvPr id="10" name="TextBox 9"/>
        <cdr:cNvSpPr txBox="1"/>
      </cdr:nvSpPr>
      <cdr:spPr>
        <a:xfrm xmlns:a="http://schemas.openxmlformats.org/drawingml/2006/main">
          <a:off x="4206250" y="2515003"/>
          <a:ext cx="360000" cy="288000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  <a:ln xmlns:a="http://schemas.openxmlformats.org/drawingml/2006/main" w="9525">
          <a:solidFill>
            <a:srgbClr val="FF0000"/>
          </a:solidFill>
          <a:prstDash val="sysDot"/>
        </a:ln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en-US" sz="1100" b="1" dirty="0" smtClean="0">
              <a:solidFill>
                <a:schemeClr val="tx1"/>
              </a:solidFill>
            </a:rPr>
            <a:t>4.8</a:t>
          </a:r>
          <a:endParaRPr lang="en-US" sz="1100" b="1" dirty="0">
            <a:solidFill>
              <a:schemeClr val="tx1"/>
            </a:solidFill>
          </a:endParaRPr>
        </a:p>
      </cdr:txBody>
    </cdr:sp>
  </cdr:relSizeAnchor>
  <cdr:relSizeAnchor xmlns:cdr="http://schemas.openxmlformats.org/drawingml/2006/chartDrawing">
    <cdr:from>
      <cdr:x>0.68878</cdr:x>
      <cdr:y>0.62453</cdr:y>
    </cdr:from>
    <cdr:to>
      <cdr:x>0.73232</cdr:x>
      <cdr:y>0.69605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5695376" y="2515003"/>
          <a:ext cx="360000" cy="288000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  <a:ln xmlns:a="http://schemas.openxmlformats.org/drawingml/2006/main" w="9525">
          <a:solidFill>
            <a:srgbClr val="FF0000"/>
          </a:solidFill>
          <a:prstDash val="sysDot"/>
        </a:ln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en-US" sz="1100" b="1" dirty="0" smtClean="0">
              <a:solidFill>
                <a:schemeClr val="tx1"/>
              </a:solidFill>
            </a:rPr>
            <a:t>4.2</a:t>
          </a:r>
          <a:endParaRPr lang="en-US" sz="1100" b="1" dirty="0">
            <a:solidFill>
              <a:schemeClr val="tx1"/>
            </a:solidFill>
          </a:endParaRPr>
        </a:p>
      </cdr:txBody>
    </cdr:sp>
  </cdr:relSizeAnchor>
  <cdr:relSizeAnchor xmlns:cdr="http://schemas.openxmlformats.org/drawingml/2006/chartDrawing">
    <cdr:from>
      <cdr:x>0.86572</cdr:x>
      <cdr:y>0.62453</cdr:y>
    </cdr:from>
    <cdr:to>
      <cdr:x>0.90926</cdr:x>
      <cdr:y>0.69605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7158455" y="2515003"/>
          <a:ext cx="360000" cy="288000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  <a:ln xmlns:a="http://schemas.openxmlformats.org/drawingml/2006/main" w="9525">
          <a:solidFill>
            <a:srgbClr val="FF0000"/>
          </a:solidFill>
          <a:prstDash val="sysDot"/>
        </a:ln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en-US" sz="1100" b="1" dirty="0" smtClean="0">
              <a:solidFill>
                <a:schemeClr val="tx1"/>
              </a:solidFill>
            </a:rPr>
            <a:t>3.3</a:t>
          </a:r>
          <a:endParaRPr lang="en-US" sz="1100" b="1" dirty="0">
            <a:solidFill>
              <a:schemeClr val="tx1"/>
            </a:solidFill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31497</cdr:x>
      <cdr:y>0.1254</cdr:y>
    </cdr:from>
    <cdr:to>
      <cdr:x>0.42811</cdr:x>
      <cdr:y>0.29426</cdr:y>
    </cdr:to>
    <cdr:cxnSp macro="">
      <cdr:nvCxnSpPr>
        <cdr:cNvPr id="2" name="AutoShape 21"/>
        <cdr:cNvCxnSpPr>
          <a:cxnSpLocks xmlns:a="http://schemas.openxmlformats.org/drawingml/2006/main" noChangeShapeType="1"/>
        </cdr:cNvCxnSpPr>
      </cdr:nvCxnSpPr>
      <cdr:spPr bwMode="auto">
        <a:xfrm xmlns:a="http://schemas.openxmlformats.org/drawingml/2006/main" flipV="1">
          <a:off x="2437674" y="564949"/>
          <a:ext cx="875670" cy="760782"/>
        </a:xfrm>
        <a:prstGeom xmlns:a="http://schemas.openxmlformats.org/drawingml/2006/main" prst="curvedConnector3">
          <a:avLst>
            <a:gd name="adj1" fmla="val 50000"/>
          </a:avLst>
        </a:prstGeom>
        <a:noFill xmlns:a="http://schemas.openxmlformats.org/drawingml/2006/main"/>
        <a:ln xmlns:a="http://schemas.openxmlformats.org/drawingml/2006/main" w="9525">
          <a:solidFill>
            <a:schemeClr val="accent1">
              <a:lumMod val="50000"/>
            </a:schemeClr>
          </a:solidFill>
          <a:round/>
          <a:headEnd/>
          <a:tailEnd type="triangle" w="med" len="med"/>
        </a:ln>
      </cdr:spPr>
    </cdr:cxnSp>
  </cdr:relSizeAnchor>
  <cdr:relSizeAnchor xmlns:cdr="http://schemas.openxmlformats.org/drawingml/2006/chartDrawing">
    <cdr:from>
      <cdr:x>0.83259</cdr:x>
      <cdr:y>0.67534</cdr:y>
    </cdr:from>
    <cdr:to>
      <cdr:x>0.86822</cdr:x>
      <cdr:y>0.71257</cdr:y>
    </cdr:to>
    <cdr:cxnSp macro="">
      <cdr:nvCxnSpPr>
        <cdr:cNvPr id="5" name="Curved Connector 4"/>
        <cdr:cNvCxnSpPr/>
      </cdr:nvCxnSpPr>
      <cdr:spPr>
        <a:xfrm xmlns:a="http://schemas.openxmlformats.org/drawingml/2006/main" rot="10800000">
          <a:off x="6443740" y="3042593"/>
          <a:ext cx="275729" cy="167739"/>
        </a:xfrm>
        <a:prstGeom xmlns:a="http://schemas.openxmlformats.org/drawingml/2006/main" prst="curvedConnector3">
          <a:avLst/>
        </a:prstGeom>
        <a:ln xmlns:a="http://schemas.openxmlformats.org/drawingml/2006/main">
          <a:solidFill>
            <a:schemeClr val="accent1">
              <a:lumMod val="50000"/>
            </a:schemeClr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93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14" y="6801973"/>
            <a:ext cx="4029165" cy="2084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54" tIns="46228" rIns="92454" bIns="46228" numCol="1" anchor="t" anchorCtr="0" compatLnSpc="1">
            <a:prstTxWarp prst="textNoShape">
              <a:avLst/>
            </a:prstTxWarp>
          </a:bodyPr>
          <a:lstStyle>
            <a:lvl1pPr>
              <a:defRPr sz="1100"/>
            </a:lvl1pPr>
          </a:lstStyle>
          <a:p>
            <a:fld id="{D417840C-59FA-4F1B-84F3-B22B4E910F24}" type="datetime1">
              <a:rPr lang="en-GB"/>
              <a:pPr/>
              <a:t>09/05/2017</a:t>
            </a:fld>
            <a:endParaRPr lang="en-GB" dirty="0"/>
          </a:p>
        </p:txBody>
      </p:sp>
      <p:sp>
        <p:nvSpPr>
          <p:cNvPr id="252935" name="Rectangle 7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4" y="9"/>
            <a:ext cx="4029165" cy="350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454" tIns="46228" rIns="92454" bIns="46228" numCol="1" anchor="t" anchorCtr="0" compatLnSpc="1">
            <a:prstTxWarp prst="textNoShape">
              <a:avLst/>
            </a:prstTxWarp>
          </a:bodyPr>
          <a:lstStyle>
            <a:lvl1pPr>
              <a:defRPr sz="11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295013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14" y="6815426"/>
            <a:ext cx="4029165" cy="194982"/>
          </a:xfrm>
          <a:prstGeom prst="rect">
            <a:avLst/>
          </a:prstGeom>
        </p:spPr>
        <p:txBody>
          <a:bodyPr vert="horz" wrap="square" lIns="92454" tIns="46228" rIns="92454" bIns="46228" numCol="1" anchor="t" anchorCtr="0" compatLnSpc="1">
            <a:prstTxWarp prst="textNoShape">
              <a:avLst/>
            </a:prstTxWarp>
          </a:bodyPr>
          <a:lstStyle>
            <a:lvl1pPr>
              <a:defRPr sz="1100">
                <a:latin typeface="Calibri" pitchFamily="34" charset="0"/>
              </a:defRPr>
            </a:lvl1pPr>
          </a:lstStyle>
          <a:p>
            <a:fld id="{83E23EEE-A4AC-4065-8FAC-748C9B40422F}" type="datetime1">
              <a:rPr lang="en-GB"/>
              <a:pPr/>
              <a:t>09/05/2017</a:t>
            </a:fld>
            <a:endParaRPr lang="en-ZA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36825" y="392113"/>
            <a:ext cx="4216400" cy="2921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54" tIns="46228" rIns="92454" bIns="46228" rtlCol="0" anchor="ctr"/>
          <a:lstStyle/>
          <a:p>
            <a:pPr lvl="0"/>
            <a:endParaRPr lang="en-ZA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471350" y="3421160"/>
            <a:ext cx="8351553" cy="31981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454" tIns="46228" rIns="92454" bIns="4622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 smtClean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267236" y="6768361"/>
            <a:ext cx="4029164" cy="242047"/>
          </a:xfrm>
          <a:prstGeom prst="rect">
            <a:avLst/>
          </a:prstGeom>
        </p:spPr>
        <p:txBody>
          <a:bodyPr vert="horz" wrap="square" lIns="92454" tIns="46228" rIns="92454" bIns="46228" numCol="1" anchor="b" anchorCtr="0" compatLnSpc="1">
            <a:prstTxWarp prst="textNoShape">
              <a:avLst/>
            </a:prstTxWarp>
          </a:bodyPr>
          <a:lstStyle>
            <a:lvl1pPr algn="r">
              <a:defRPr sz="1100">
                <a:latin typeface="Calibri" pitchFamily="34" charset="0"/>
              </a:defRPr>
            </a:lvl1pPr>
          </a:lstStyle>
          <a:p>
            <a:fld id="{E19D51F8-14F4-483D-9BFD-88394224B8CC}" type="slidenum">
              <a:rPr lang="en-ZA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4302471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749550" y="523875"/>
            <a:ext cx="3797300" cy="2628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25840" y="4026605"/>
            <a:ext cx="7768866" cy="186888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279898" y="7205711"/>
            <a:ext cx="114807" cy="1401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0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98533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51374" y="5073199"/>
            <a:ext cx="5603141" cy="503386"/>
          </a:xfrm>
        </p:spPr>
        <p:txBody>
          <a:bodyPr/>
          <a:lstStyle/>
          <a:p>
            <a:r>
              <a:rPr lang="en-GB" baseline="0" dirty="0" smtClean="0"/>
              <a:t>SO: Replaced with slide from presentation on the 30th</a:t>
            </a:r>
          </a:p>
          <a:p>
            <a:r>
              <a:rPr lang="en-GB" baseline="0" dirty="0" smtClean="0"/>
              <a:t>YTS: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975116" y="9066449"/>
            <a:ext cx="79400" cy="188770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GB" smtClean="0"/>
              <a:pPr>
                <a:defRPr/>
              </a:pPr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03569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jpeg"/><Relationship Id="rId4" Type="http://schemas.openxmlformats.org/officeDocument/2006/relationships/image" Target="../media/image2.emf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jpeg"/><Relationship Id="rId4" Type="http://schemas.openxmlformats.org/officeDocument/2006/relationships/image" Target="../media/image2.emf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jpeg"/><Relationship Id="rId4" Type="http://schemas.openxmlformats.org/officeDocument/2006/relationships/image" Target="../media/image2.emf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jpeg"/><Relationship Id="rId4" Type="http://schemas.openxmlformats.org/officeDocument/2006/relationships/image" Target="../media/image2.emf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jpeg"/><Relationship Id="rId4" Type="http://schemas.openxmlformats.org/officeDocument/2006/relationships/image" Target="../media/image2.emf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9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3.jpeg"/><Relationship Id="rId4" Type="http://schemas.openxmlformats.org/officeDocument/2006/relationships/image" Target="../media/image2.emf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jpeg"/><Relationship Id="rId4" Type="http://schemas.openxmlformats.org/officeDocument/2006/relationships/image" Target="../media/image2.emf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373133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350822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395608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233037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375651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054816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195946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7291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308754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35376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70500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566733409"/>
              </p:ext>
            </p:extLst>
          </p:nvPr>
        </p:nvGraphicFramePr>
        <p:xfrm>
          <a:off x="1738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83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38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 userDrawn="1"/>
        </p:nvSpPr>
        <p:spPr bwMode="ltGray">
          <a:xfrm>
            <a:off x="472218" y="3125277"/>
            <a:ext cx="9041669" cy="3265288"/>
          </a:xfrm>
          <a:prstGeom prst="rect">
            <a:avLst/>
          </a:prstGeom>
          <a:solidFill>
            <a:srgbClr val="617D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 sz="1600" dirty="0">
              <a:solidFill>
                <a:srgbClr val="FFFFFF"/>
              </a:solidFill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645572" y="3699127"/>
            <a:ext cx="6627082" cy="2202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1400" cap="all" dirty="0" smtClean="0">
                <a:solidFill>
                  <a:srgbClr val="FFFFFF"/>
                </a:solidFill>
                <a:latin typeface="Calibri"/>
              </a:rPr>
              <a:t>Document type | Date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645573" y="2047038"/>
            <a:ext cx="6627082" cy="553998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defRPr sz="3600" b="0" cap="all" baseline="0">
                <a:solidFill>
                  <a:schemeClr val="accent3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645573" y="2646630"/>
            <a:ext cx="6627082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3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GB" noProof="0" dirty="0" smtClean="0"/>
              <a:t>Click to edit Master subtitle style</a:t>
            </a:r>
          </a:p>
        </p:txBody>
      </p:sp>
      <p:grpSp>
        <p:nvGrpSpPr>
          <p:cNvPr id="22" name="Group 21"/>
          <p:cNvGrpSpPr/>
          <p:nvPr userDrawn="1"/>
        </p:nvGrpSpPr>
        <p:grpSpPr bwMode="ltGray">
          <a:xfrm>
            <a:off x="362810" y="180317"/>
            <a:ext cx="9180382" cy="98554"/>
            <a:chOff x="334901" y="142217"/>
            <a:chExt cx="8474199" cy="98554"/>
          </a:xfrm>
        </p:grpSpPr>
        <p:sp>
          <p:nvSpPr>
            <p:cNvPr id="23" name="Rectangle 22"/>
            <p:cNvSpPr/>
            <p:nvPr userDrawn="1"/>
          </p:nvSpPr>
          <p:spPr bwMode="ltGray">
            <a:xfrm>
              <a:off x="334901" y="145774"/>
              <a:ext cx="2777490" cy="9499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 sz="1600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/>
            <p:cNvSpPr/>
            <p:nvPr userDrawn="1"/>
          </p:nvSpPr>
          <p:spPr bwMode="ltGray">
            <a:xfrm>
              <a:off x="6031610" y="142217"/>
              <a:ext cx="2777490" cy="9855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 sz="1600" dirty="0">
                <a:solidFill>
                  <a:srgbClr val="FFFFFF"/>
                </a:solidFill>
              </a:endParaRPr>
            </a:p>
          </p:txBody>
        </p:sp>
      </p:grpSp>
      <p:sp>
        <p:nvSpPr>
          <p:cNvPr id="25" name="Rectangle 24"/>
          <p:cNvSpPr/>
          <p:nvPr userDrawn="1"/>
        </p:nvSpPr>
        <p:spPr bwMode="auto">
          <a:xfrm>
            <a:off x="3446487" y="183874"/>
            <a:ext cx="3008948" cy="9144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 sz="1600" dirty="0">
              <a:solidFill>
                <a:srgbClr val="FFFFFF"/>
              </a:solidFill>
            </a:endParaRPr>
          </a:p>
        </p:txBody>
      </p:sp>
      <p:sp>
        <p:nvSpPr>
          <p:cNvPr id="26" name="doc id"/>
          <p:cNvSpPr>
            <a:spLocks noChangeArrowheads="1"/>
          </p:cNvSpPr>
          <p:nvPr userDrawn="1"/>
        </p:nvSpPr>
        <p:spPr bwMode="auto">
          <a:xfrm>
            <a:off x="8820074" y="37255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29"/>
            <a:endParaRPr lang="en-GB" sz="800" dirty="0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8048" y="556562"/>
            <a:ext cx="2345839" cy="2301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66632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87630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4696043" y="6440538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300403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 txBox="1">
            <a:spLocks/>
          </p:cNvSpPr>
          <p:nvPr userDrawn="1"/>
        </p:nvSpPr>
        <p:spPr>
          <a:xfrm>
            <a:off x="277819" y="306023"/>
            <a:ext cx="8065551" cy="400110"/>
          </a:xfrm>
          <a:prstGeom prst="rect">
            <a:avLst/>
          </a:prstGeom>
        </p:spPr>
        <p:txBody>
          <a:bodyPr anchor="ctr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9pPr>
          </a:lstStyle>
          <a:p>
            <a:r>
              <a:rPr lang="en-GB" kern="0" dirty="0" smtClean="0">
                <a:solidFill>
                  <a:prstClr val="white"/>
                </a:solidFill>
              </a:rPr>
              <a:t>Click to edit Master title style</a:t>
            </a:r>
            <a:endParaRPr lang="en-GB" kern="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40781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88565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949527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440874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19676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25754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86951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059852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4696043" y="6440538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98988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668401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598074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60989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376005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9954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7611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384264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4260228828"/>
              </p:ext>
            </p:extLst>
          </p:nvPr>
        </p:nvGraphicFramePr>
        <p:xfrm>
          <a:off x="1738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24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38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 userDrawn="1"/>
        </p:nvSpPr>
        <p:spPr bwMode="ltGray">
          <a:xfrm>
            <a:off x="472218" y="3125277"/>
            <a:ext cx="9041669" cy="3265288"/>
          </a:xfrm>
          <a:prstGeom prst="rect">
            <a:avLst/>
          </a:prstGeom>
          <a:solidFill>
            <a:srgbClr val="617D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 sz="1600" dirty="0">
              <a:solidFill>
                <a:srgbClr val="FFFFFF"/>
              </a:solidFill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645572" y="3699127"/>
            <a:ext cx="6627082" cy="2202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1400" cap="all" dirty="0" smtClean="0">
                <a:solidFill>
                  <a:srgbClr val="FFFFFF"/>
                </a:solidFill>
                <a:latin typeface="Calibri"/>
              </a:rPr>
              <a:t>Document type | Date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645573" y="2047038"/>
            <a:ext cx="6627082" cy="553998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defRPr sz="3600" b="0" cap="all" baseline="0">
                <a:solidFill>
                  <a:schemeClr val="accent3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645573" y="2646630"/>
            <a:ext cx="6627082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3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GB" noProof="0" dirty="0" smtClean="0"/>
              <a:t>Click to edit Master subtitle style</a:t>
            </a:r>
          </a:p>
        </p:txBody>
      </p:sp>
      <p:grpSp>
        <p:nvGrpSpPr>
          <p:cNvPr id="22" name="Group 21"/>
          <p:cNvGrpSpPr/>
          <p:nvPr userDrawn="1"/>
        </p:nvGrpSpPr>
        <p:grpSpPr bwMode="ltGray">
          <a:xfrm>
            <a:off x="362810" y="180317"/>
            <a:ext cx="9180382" cy="98554"/>
            <a:chOff x="334901" y="142217"/>
            <a:chExt cx="8474199" cy="98554"/>
          </a:xfrm>
        </p:grpSpPr>
        <p:sp>
          <p:nvSpPr>
            <p:cNvPr id="23" name="Rectangle 22"/>
            <p:cNvSpPr/>
            <p:nvPr userDrawn="1"/>
          </p:nvSpPr>
          <p:spPr bwMode="ltGray">
            <a:xfrm>
              <a:off x="334901" y="145774"/>
              <a:ext cx="2777490" cy="9499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 sz="1600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/>
            <p:cNvSpPr/>
            <p:nvPr userDrawn="1"/>
          </p:nvSpPr>
          <p:spPr bwMode="ltGray">
            <a:xfrm>
              <a:off x="6031610" y="142217"/>
              <a:ext cx="2777490" cy="9855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 sz="1600" dirty="0">
                <a:solidFill>
                  <a:srgbClr val="FFFFFF"/>
                </a:solidFill>
              </a:endParaRPr>
            </a:p>
          </p:txBody>
        </p:sp>
      </p:grpSp>
      <p:sp>
        <p:nvSpPr>
          <p:cNvPr id="25" name="Rectangle 24"/>
          <p:cNvSpPr/>
          <p:nvPr userDrawn="1"/>
        </p:nvSpPr>
        <p:spPr bwMode="auto">
          <a:xfrm>
            <a:off x="3446487" y="183874"/>
            <a:ext cx="3008948" cy="9144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 sz="1600" dirty="0">
              <a:solidFill>
                <a:srgbClr val="FFFFFF"/>
              </a:solidFill>
            </a:endParaRPr>
          </a:p>
        </p:txBody>
      </p:sp>
      <p:sp>
        <p:nvSpPr>
          <p:cNvPr id="26" name="doc id"/>
          <p:cNvSpPr>
            <a:spLocks noChangeArrowheads="1"/>
          </p:cNvSpPr>
          <p:nvPr userDrawn="1"/>
        </p:nvSpPr>
        <p:spPr bwMode="auto">
          <a:xfrm>
            <a:off x="8820074" y="37255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29"/>
            <a:endParaRPr lang="en-GB" sz="800" dirty="0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8048" y="556562"/>
            <a:ext cx="2345839" cy="2301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32359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4696043" y="6440538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42994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00" dirty="0">
              <a:solidFill>
                <a:srgbClr val="80808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8535241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00" dirty="0">
              <a:solidFill>
                <a:srgbClr val="80808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3311305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4696043" y="6440538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4023395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4696043" y="6440538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7656802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353" y="1412881"/>
            <a:ext cx="9071197" cy="484112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05337" y="6448254"/>
            <a:ext cx="161488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2AF3FCFE-99B5-4480-BEB7-4405BA0AD468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30884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4696043" y="6440538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2151825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21181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14628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36107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191106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362902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977436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4696043" y="6440538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1120534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130517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373292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831559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33127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5134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59559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43695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061438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582227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44792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4696043" y="6440538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3108959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5775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062937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47276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64669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289673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616950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11233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573651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86890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278213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353" y="1412881"/>
            <a:ext cx="9071197" cy="484112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05337" y="6448254"/>
            <a:ext cx="161488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2AF3FCFE-99B5-4480-BEB7-4405BA0AD468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68874947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69806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066138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419863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98634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22016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9257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76583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640002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4696043" y="6440538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7556523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 txBox="1">
            <a:spLocks/>
          </p:cNvSpPr>
          <p:nvPr userDrawn="1"/>
        </p:nvSpPr>
        <p:spPr>
          <a:xfrm>
            <a:off x="277819" y="306023"/>
            <a:ext cx="8065551" cy="400110"/>
          </a:xfrm>
          <a:prstGeom prst="rect">
            <a:avLst/>
          </a:prstGeom>
        </p:spPr>
        <p:txBody>
          <a:bodyPr anchor="ctr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9pPr>
          </a:lstStyle>
          <a:p>
            <a:r>
              <a:rPr lang="en-GB" kern="0" dirty="0" smtClean="0">
                <a:solidFill>
                  <a:prstClr val="white"/>
                </a:solidFill>
              </a:rPr>
              <a:t>Click to edit Master title style</a:t>
            </a:r>
            <a:endParaRPr lang="en-GB" kern="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0951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4696043" y="6440538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5219524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12143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781465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95314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578597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45020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911411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8626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11414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02989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629262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641164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206807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16891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7338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58579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1340547419"/>
              </p:ext>
            </p:extLst>
          </p:nvPr>
        </p:nvGraphicFramePr>
        <p:xfrm>
          <a:off x="1738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15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38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 userDrawn="1"/>
        </p:nvSpPr>
        <p:spPr bwMode="ltGray">
          <a:xfrm>
            <a:off x="472218" y="3125277"/>
            <a:ext cx="9041669" cy="3265288"/>
          </a:xfrm>
          <a:prstGeom prst="rect">
            <a:avLst/>
          </a:prstGeom>
          <a:solidFill>
            <a:srgbClr val="617D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 sz="1600" dirty="0">
              <a:solidFill>
                <a:srgbClr val="FFFFFF"/>
              </a:solidFill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645572" y="3699127"/>
            <a:ext cx="6627082" cy="2202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1400" cap="all" dirty="0" smtClean="0">
                <a:solidFill>
                  <a:srgbClr val="FFFFFF"/>
                </a:solidFill>
                <a:latin typeface="Calibri"/>
              </a:rPr>
              <a:t>Document type | Date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645573" y="2047038"/>
            <a:ext cx="6627082" cy="553998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defRPr sz="3600" b="0" cap="all" baseline="0">
                <a:solidFill>
                  <a:schemeClr val="accent3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645573" y="2646630"/>
            <a:ext cx="6627082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3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GB" noProof="0" dirty="0" smtClean="0"/>
              <a:t>Click to edit Master subtitle style</a:t>
            </a:r>
          </a:p>
        </p:txBody>
      </p:sp>
      <p:grpSp>
        <p:nvGrpSpPr>
          <p:cNvPr id="22" name="Group 21"/>
          <p:cNvGrpSpPr/>
          <p:nvPr userDrawn="1"/>
        </p:nvGrpSpPr>
        <p:grpSpPr bwMode="ltGray">
          <a:xfrm>
            <a:off x="362810" y="180317"/>
            <a:ext cx="9180382" cy="98554"/>
            <a:chOff x="334901" y="142217"/>
            <a:chExt cx="8474199" cy="98554"/>
          </a:xfrm>
        </p:grpSpPr>
        <p:sp>
          <p:nvSpPr>
            <p:cNvPr id="23" name="Rectangle 22"/>
            <p:cNvSpPr/>
            <p:nvPr userDrawn="1"/>
          </p:nvSpPr>
          <p:spPr bwMode="ltGray">
            <a:xfrm>
              <a:off x="334901" y="145774"/>
              <a:ext cx="2777490" cy="9499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 sz="1600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/>
            <p:cNvSpPr/>
            <p:nvPr userDrawn="1"/>
          </p:nvSpPr>
          <p:spPr bwMode="ltGray">
            <a:xfrm>
              <a:off x="6031610" y="142217"/>
              <a:ext cx="2777490" cy="9855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 sz="1600" dirty="0">
                <a:solidFill>
                  <a:srgbClr val="FFFFFF"/>
                </a:solidFill>
              </a:endParaRPr>
            </a:p>
          </p:txBody>
        </p:sp>
      </p:grpSp>
      <p:sp>
        <p:nvSpPr>
          <p:cNvPr id="25" name="Rectangle 24"/>
          <p:cNvSpPr/>
          <p:nvPr userDrawn="1"/>
        </p:nvSpPr>
        <p:spPr bwMode="auto">
          <a:xfrm>
            <a:off x="3446487" y="183874"/>
            <a:ext cx="3008948" cy="9144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 sz="1600" dirty="0">
              <a:solidFill>
                <a:srgbClr val="FFFFFF"/>
              </a:solidFill>
            </a:endParaRPr>
          </a:p>
        </p:txBody>
      </p:sp>
      <p:sp>
        <p:nvSpPr>
          <p:cNvPr id="26" name="doc id"/>
          <p:cNvSpPr>
            <a:spLocks noChangeArrowheads="1"/>
          </p:cNvSpPr>
          <p:nvPr userDrawn="1"/>
        </p:nvSpPr>
        <p:spPr bwMode="auto">
          <a:xfrm>
            <a:off x="8820074" y="37255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29"/>
            <a:endParaRPr lang="en-GB" sz="800" dirty="0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8048" y="556562"/>
            <a:ext cx="2345839" cy="2301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53343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4696043" y="6440538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23440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00" dirty="0">
              <a:solidFill>
                <a:srgbClr val="80808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0522727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4696043" y="6440538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2179595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353" y="1412881"/>
            <a:ext cx="9071197" cy="484112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05337" y="6448254"/>
            <a:ext cx="161488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2AF3FCFE-99B5-4480-BEB7-4405BA0AD468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0128255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4696043" y="6440538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12920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77975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232065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94296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74374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51321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4696043" y="6440538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0891975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 txBox="1">
            <a:spLocks/>
          </p:cNvSpPr>
          <p:nvPr userDrawn="1"/>
        </p:nvSpPr>
        <p:spPr>
          <a:xfrm>
            <a:off x="277819" y="306023"/>
            <a:ext cx="8065551" cy="400110"/>
          </a:xfrm>
          <a:prstGeom prst="rect">
            <a:avLst/>
          </a:prstGeom>
        </p:spPr>
        <p:txBody>
          <a:bodyPr anchor="ctr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9pPr>
          </a:lstStyle>
          <a:p>
            <a:r>
              <a:rPr lang="en-GB" kern="0" dirty="0" smtClean="0">
                <a:solidFill>
                  <a:prstClr val="white"/>
                </a:solidFill>
              </a:rPr>
              <a:t>Click to edit Master title style</a:t>
            </a:r>
            <a:endParaRPr lang="en-GB" kern="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72080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883457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23449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689997809"/>
              </p:ext>
            </p:extLst>
          </p:nvPr>
        </p:nvGraphicFramePr>
        <p:xfrm>
          <a:off x="1738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38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38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 userDrawn="1"/>
        </p:nvSpPr>
        <p:spPr bwMode="ltGray">
          <a:xfrm>
            <a:off x="472218" y="3125277"/>
            <a:ext cx="9041669" cy="3265288"/>
          </a:xfrm>
          <a:prstGeom prst="rect">
            <a:avLst/>
          </a:prstGeom>
          <a:solidFill>
            <a:srgbClr val="617D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 sz="1600" dirty="0">
              <a:solidFill>
                <a:srgbClr val="FFFFFF"/>
              </a:solidFill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645572" y="3699127"/>
            <a:ext cx="6627082" cy="2202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1400" cap="all" dirty="0" smtClean="0">
                <a:solidFill>
                  <a:srgbClr val="FFFFFF"/>
                </a:solidFill>
                <a:latin typeface="Calibri"/>
              </a:rPr>
              <a:t>Document type | Date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645573" y="2047038"/>
            <a:ext cx="6627082" cy="553998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defRPr sz="3600" b="0" cap="all" baseline="0">
                <a:solidFill>
                  <a:schemeClr val="accent3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645573" y="2646630"/>
            <a:ext cx="6627082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3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GB" noProof="0" dirty="0" smtClean="0"/>
              <a:t>Click to edit Master subtitle style</a:t>
            </a:r>
          </a:p>
        </p:txBody>
      </p:sp>
      <p:grpSp>
        <p:nvGrpSpPr>
          <p:cNvPr id="22" name="Group 21"/>
          <p:cNvGrpSpPr/>
          <p:nvPr userDrawn="1"/>
        </p:nvGrpSpPr>
        <p:grpSpPr bwMode="ltGray">
          <a:xfrm>
            <a:off x="362810" y="180317"/>
            <a:ext cx="9180382" cy="98554"/>
            <a:chOff x="334901" y="142217"/>
            <a:chExt cx="8474199" cy="98554"/>
          </a:xfrm>
        </p:grpSpPr>
        <p:sp>
          <p:nvSpPr>
            <p:cNvPr id="23" name="Rectangle 22"/>
            <p:cNvSpPr/>
            <p:nvPr userDrawn="1"/>
          </p:nvSpPr>
          <p:spPr bwMode="ltGray">
            <a:xfrm>
              <a:off x="334901" y="145774"/>
              <a:ext cx="2777490" cy="9499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 sz="1600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/>
            <p:cNvSpPr/>
            <p:nvPr userDrawn="1"/>
          </p:nvSpPr>
          <p:spPr bwMode="ltGray">
            <a:xfrm>
              <a:off x="6031610" y="142217"/>
              <a:ext cx="2777490" cy="9855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 sz="1600" dirty="0">
                <a:solidFill>
                  <a:srgbClr val="FFFFFF"/>
                </a:solidFill>
              </a:endParaRPr>
            </a:p>
          </p:txBody>
        </p:sp>
      </p:grpSp>
      <p:sp>
        <p:nvSpPr>
          <p:cNvPr id="25" name="Rectangle 24"/>
          <p:cNvSpPr/>
          <p:nvPr userDrawn="1"/>
        </p:nvSpPr>
        <p:spPr bwMode="auto">
          <a:xfrm>
            <a:off x="3446487" y="183874"/>
            <a:ext cx="3008948" cy="9144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 sz="1600" dirty="0">
              <a:solidFill>
                <a:srgbClr val="FFFFFF"/>
              </a:solidFill>
            </a:endParaRPr>
          </a:p>
        </p:txBody>
      </p:sp>
      <p:sp>
        <p:nvSpPr>
          <p:cNvPr id="26" name="doc id"/>
          <p:cNvSpPr>
            <a:spLocks noChangeArrowheads="1"/>
          </p:cNvSpPr>
          <p:nvPr userDrawn="1"/>
        </p:nvSpPr>
        <p:spPr bwMode="auto">
          <a:xfrm>
            <a:off x="8820074" y="37255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29"/>
            <a:endParaRPr lang="en-GB" sz="800" dirty="0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8048" y="556562"/>
            <a:ext cx="2345839" cy="2301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06594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4696043" y="6440538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62636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4696043" y="6440538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62376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671177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00" dirty="0">
              <a:solidFill>
                <a:srgbClr val="80808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5974726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4696043" y="6440538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8026457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353" y="1412881"/>
            <a:ext cx="9071197" cy="484112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05337" y="6448254"/>
            <a:ext cx="161488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2AF3FCFE-99B5-4480-BEB7-4405BA0AD468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27447836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4696043" y="6440538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8775749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03896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7389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83092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413844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4696043" y="6440538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4769294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 txBox="1">
            <a:spLocks/>
          </p:cNvSpPr>
          <p:nvPr userDrawn="1"/>
        </p:nvSpPr>
        <p:spPr>
          <a:xfrm>
            <a:off x="277819" y="306023"/>
            <a:ext cx="8065551" cy="400110"/>
          </a:xfrm>
          <a:prstGeom prst="rect">
            <a:avLst/>
          </a:prstGeom>
        </p:spPr>
        <p:txBody>
          <a:bodyPr anchor="ctr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9pPr>
          </a:lstStyle>
          <a:p>
            <a:r>
              <a:rPr lang="en-GB" kern="0" dirty="0" smtClean="0">
                <a:solidFill>
                  <a:prstClr val="white"/>
                </a:solidFill>
              </a:rPr>
              <a:t>Click to edit Master title style</a:t>
            </a:r>
            <a:endParaRPr lang="en-GB" kern="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61416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79006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30480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410355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3218858775"/>
              </p:ext>
            </p:extLst>
          </p:nvPr>
        </p:nvGraphicFramePr>
        <p:xfrm>
          <a:off x="1738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61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38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 userDrawn="1"/>
        </p:nvSpPr>
        <p:spPr bwMode="ltGray">
          <a:xfrm>
            <a:off x="472218" y="3125277"/>
            <a:ext cx="9041669" cy="3265288"/>
          </a:xfrm>
          <a:prstGeom prst="rect">
            <a:avLst/>
          </a:prstGeom>
          <a:solidFill>
            <a:srgbClr val="617D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 sz="1600" dirty="0">
              <a:solidFill>
                <a:srgbClr val="FFFFFF"/>
              </a:solidFill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645572" y="3699127"/>
            <a:ext cx="6627082" cy="2202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1400" cap="all" dirty="0" smtClean="0">
                <a:solidFill>
                  <a:srgbClr val="FFFFFF"/>
                </a:solidFill>
                <a:latin typeface="Calibri"/>
              </a:rPr>
              <a:t>Document type | Date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645573" y="2047038"/>
            <a:ext cx="6627082" cy="553998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defRPr sz="3600" b="0" cap="all" baseline="0">
                <a:solidFill>
                  <a:schemeClr val="accent3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645573" y="2646630"/>
            <a:ext cx="6627082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3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GB" noProof="0" dirty="0" smtClean="0"/>
              <a:t>Click to edit Master subtitle style</a:t>
            </a:r>
          </a:p>
        </p:txBody>
      </p:sp>
      <p:grpSp>
        <p:nvGrpSpPr>
          <p:cNvPr id="22" name="Group 21"/>
          <p:cNvGrpSpPr/>
          <p:nvPr userDrawn="1"/>
        </p:nvGrpSpPr>
        <p:grpSpPr bwMode="ltGray">
          <a:xfrm>
            <a:off x="362810" y="180317"/>
            <a:ext cx="9180382" cy="98554"/>
            <a:chOff x="334901" y="142217"/>
            <a:chExt cx="8474199" cy="98554"/>
          </a:xfrm>
        </p:grpSpPr>
        <p:sp>
          <p:nvSpPr>
            <p:cNvPr id="23" name="Rectangle 22"/>
            <p:cNvSpPr/>
            <p:nvPr userDrawn="1"/>
          </p:nvSpPr>
          <p:spPr bwMode="ltGray">
            <a:xfrm>
              <a:off x="334901" y="145774"/>
              <a:ext cx="2777490" cy="9499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 sz="1600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/>
            <p:cNvSpPr/>
            <p:nvPr userDrawn="1"/>
          </p:nvSpPr>
          <p:spPr bwMode="ltGray">
            <a:xfrm>
              <a:off x="6031610" y="142217"/>
              <a:ext cx="2777490" cy="9855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 sz="1600" dirty="0">
                <a:solidFill>
                  <a:srgbClr val="FFFFFF"/>
                </a:solidFill>
              </a:endParaRPr>
            </a:p>
          </p:txBody>
        </p:sp>
      </p:grpSp>
      <p:sp>
        <p:nvSpPr>
          <p:cNvPr id="25" name="Rectangle 24"/>
          <p:cNvSpPr/>
          <p:nvPr userDrawn="1"/>
        </p:nvSpPr>
        <p:spPr bwMode="auto">
          <a:xfrm>
            <a:off x="3446487" y="183874"/>
            <a:ext cx="3008948" cy="9144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 sz="1600" dirty="0">
              <a:solidFill>
                <a:srgbClr val="FFFFFF"/>
              </a:solidFill>
            </a:endParaRPr>
          </a:p>
        </p:txBody>
      </p:sp>
      <p:sp>
        <p:nvSpPr>
          <p:cNvPr id="26" name="doc id"/>
          <p:cNvSpPr>
            <a:spLocks noChangeArrowheads="1"/>
          </p:cNvSpPr>
          <p:nvPr userDrawn="1"/>
        </p:nvSpPr>
        <p:spPr bwMode="auto">
          <a:xfrm>
            <a:off x="8820074" y="37255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29"/>
            <a:endParaRPr lang="en-GB" sz="800" dirty="0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8712" y="556561"/>
            <a:ext cx="1491176" cy="1463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8181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4696043" y="6440538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31289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00" dirty="0">
              <a:solidFill>
                <a:srgbClr val="80808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3860412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4696043" y="6440538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5447971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353" y="1412881"/>
            <a:ext cx="9071197" cy="484112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05337" y="6448254"/>
            <a:ext cx="161488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2AF3FCFE-99B5-4480-BEB7-4405BA0AD468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45965598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4696043" y="6440538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1702140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352179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33016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249613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770310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4696043" y="6440538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2220873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 txBox="1">
            <a:spLocks/>
          </p:cNvSpPr>
          <p:nvPr userDrawn="1"/>
        </p:nvSpPr>
        <p:spPr>
          <a:xfrm>
            <a:off x="277819" y="306023"/>
            <a:ext cx="8065551" cy="400110"/>
          </a:xfrm>
          <a:prstGeom prst="rect">
            <a:avLst/>
          </a:prstGeom>
        </p:spPr>
        <p:txBody>
          <a:bodyPr anchor="ctr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9pPr>
          </a:lstStyle>
          <a:p>
            <a:r>
              <a:rPr lang="en-GB" kern="0" dirty="0" smtClean="0">
                <a:solidFill>
                  <a:prstClr val="white"/>
                </a:solidFill>
              </a:rPr>
              <a:t>Click to edit Master title style</a:t>
            </a:r>
            <a:endParaRPr lang="en-GB" kern="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62942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357732" y="614407"/>
            <a:ext cx="9188837" cy="72202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219" y="702156"/>
            <a:ext cx="8961563" cy="540490"/>
          </a:xfrm>
          <a:prstGeom prst="rect">
            <a:avLst/>
          </a:prstGeom>
        </p:spPr>
        <p:txBody>
          <a:bodyPr/>
          <a:lstStyle/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2220" y="1424180"/>
            <a:ext cx="8961562" cy="4599593"/>
          </a:xfrm>
          <a:prstGeom prst="rect">
            <a:avLst/>
          </a:prstGeom>
        </p:spPr>
        <p:txBody>
          <a:bodyPr anchor="t" anchorCtr="0"/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778455" y="6117559"/>
            <a:ext cx="855163" cy="365125"/>
          </a:xfrm>
          <a:prstGeom prst="rect">
            <a:avLst/>
          </a:prstGeom>
        </p:spPr>
        <p:txBody>
          <a:bodyPr/>
          <a:lstStyle/>
          <a:p>
            <a:fld id="{D57F1E4F-1CFF-5643-939E-217C01CDF565}" type="slidenum">
              <a:rPr lang="en-US" smtClean="0">
                <a:solidFill>
                  <a:srgbClr val="8AB833"/>
                </a:solidFill>
              </a:rPr>
              <a:pPr/>
              <a:t>‹#›</a:t>
            </a:fld>
            <a:endParaRPr lang="en-US" dirty="0">
              <a:solidFill>
                <a:srgbClr val="8AB833"/>
              </a:solidFill>
            </a:endParaRPr>
          </a:p>
        </p:txBody>
      </p:sp>
      <p:sp>
        <p:nvSpPr>
          <p:cNvPr id="8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72219" y="6119675"/>
            <a:ext cx="4846147" cy="360799"/>
          </a:xfrm>
          <a:prstGeom prst="rect">
            <a:avLst/>
          </a:prstGeom>
        </p:spPr>
        <p:txBody>
          <a:bodyPr/>
          <a:lstStyle>
            <a:lvl1pPr algn="l">
              <a:defRPr cap="none"/>
            </a:lvl1pPr>
          </a:lstStyle>
          <a:p>
            <a:r>
              <a:rPr dirty="0" smtClean="0">
                <a:solidFill>
                  <a:srgbClr val="8AB833"/>
                </a:solidFill>
              </a:rPr>
              <a:t>NIPC’s Strategy &amp; Required Support</a:t>
            </a:r>
            <a:endParaRPr dirty="0">
              <a:solidFill>
                <a:srgbClr val="8AB8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08635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800240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29569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73841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4696043" y="6440538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1175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00" dirty="0">
              <a:solidFill>
                <a:srgbClr val="80808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5698573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4696043" y="6440538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972312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704634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353" y="1412881"/>
            <a:ext cx="9071197" cy="484112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05337" y="6448254"/>
            <a:ext cx="161488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2AF3FCFE-99B5-4480-BEB7-4405BA0AD468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20172683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4696043" y="6440538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5261942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160184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303391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982861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83599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909892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4696043" y="6440538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7695373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 txBox="1">
            <a:spLocks/>
          </p:cNvSpPr>
          <p:nvPr userDrawn="1"/>
        </p:nvSpPr>
        <p:spPr>
          <a:xfrm>
            <a:off x="277819" y="306023"/>
            <a:ext cx="8065551" cy="400110"/>
          </a:xfrm>
          <a:prstGeom prst="rect">
            <a:avLst/>
          </a:prstGeom>
        </p:spPr>
        <p:txBody>
          <a:bodyPr anchor="ctr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9pPr>
          </a:lstStyle>
          <a:p>
            <a:r>
              <a:rPr lang="en-GB" kern="0" dirty="0" smtClean="0">
                <a:solidFill>
                  <a:prstClr val="white"/>
                </a:solidFill>
              </a:rPr>
              <a:t>Click to edit Master title style</a:t>
            </a:r>
            <a:endParaRPr lang="en-GB" kern="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61987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264788275"/>
              </p:ext>
            </p:extLst>
          </p:nvPr>
        </p:nvGraphicFramePr>
        <p:xfrm>
          <a:off x="1738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30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38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 userDrawn="1"/>
        </p:nvSpPr>
        <p:spPr bwMode="ltGray">
          <a:xfrm>
            <a:off x="472218" y="3125277"/>
            <a:ext cx="9041669" cy="3265288"/>
          </a:xfrm>
          <a:prstGeom prst="rect">
            <a:avLst/>
          </a:prstGeom>
          <a:solidFill>
            <a:srgbClr val="617D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 sz="1600" dirty="0">
              <a:solidFill>
                <a:srgbClr val="FFFFFF"/>
              </a:solidFill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645572" y="3699127"/>
            <a:ext cx="6627082" cy="2202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1400" cap="all" dirty="0" smtClean="0">
                <a:solidFill>
                  <a:srgbClr val="FFFFFF"/>
                </a:solidFill>
                <a:latin typeface="Calibri"/>
              </a:rPr>
              <a:t>Document type | Date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645573" y="1199520"/>
            <a:ext cx="6627082" cy="1015663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>
              <a:defRPr sz="3000" b="1" cap="all" baseline="0">
                <a:solidFill>
                  <a:srgbClr val="617D32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645573" y="2482320"/>
            <a:ext cx="6627082" cy="307777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>
              <a:defRPr sz="1400" cap="all" baseline="0">
                <a:solidFill>
                  <a:schemeClr val="accent3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GB" noProof="0" dirty="0" smtClean="0"/>
              <a:t>Click to edit Master subtitle style</a:t>
            </a:r>
          </a:p>
        </p:txBody>
      </p:sp>
      <p:grpSp>
        <p:nvGrpSpPr>
          <p:cNvPr id="22" name="Group 21"/>
          <p:cNvGrpSpPr/>
          <p:nvPr userDrawn="1"/>
        </p:nvGrpSpPr>
        <p:grpSpPr bwMode="ltGray">
          <a:xfrm>
            <a:off x="362810" y="180317"/>
            <a:ext cx="9180382" cy="98554"/>
            <a:chOff x="334901" y="142217"/>
            <a:chExt cx="8474199" cy="98554"/>
          </a:xfrm>
        </p:grpSpPr>
        <p:sp>
          <p:nvSpPr>
            <p:cNvPr id="23" name="Rectangle 22"/>
            <p:cNvSpPr/>
            <p:nvPr userDrawn="1"/>
          </p:nvSpPr>
          <p:spPr bwMode="ltGray">
            <a:xfrm>
              <a:off x="334901" y="145774"/>
              <a:ext cx="2777490" cy="9499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 sz="1600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/>
            <p:cNvSpPr/>
            <p:nvPr userDrawn="1"/>
          </p:nvSpPr>
          <p:spPr bwMode="ltGray">
            <a:xfrm>
              <a:off x="6031610" y="142217"/>
              <a:ext cx="2777490" cy="9855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 sz="1600" dirty="0">
                <a:solidFill>
                  <a:srgbClr val="FFFFFF"/>
                </a:solidFill>
              </a:endParaRPr>
            </a:p>
          </p:txBody>
        </p:sp>
      </p:grpSp>
      <p:sp>
        <p:nvSpPr>
          <p:cNvPr id="25" name="Rectangle 24"/>
          <p:cNvSpPr/>
          <p:nvPr userDrawn="1"/>
        </p:nvSpPr>
        <p:spPr bwMode="auto">
          <a:xfrm>
            <a:off x="3446487" y="183874"/>
            <a:ext cx="3008948" cy="9144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 sz="1600" dirty="0">
              <a:solidFill>
                <a:srgbClr val="FFFFFF"/>
              </a:solidFill>
            </a:endParaRPr>
          </a:p>
        </p:txBody>
      </p:sp>
      <p:sp>
        <p:nvSpPr>
          <p:cNvPr id="26" name="doc id"/>
          <p:cNvSpPr>
            <a:spLocks noChangeArrowheads="1"/>
          </p:cNvSpPr>
          <p:nvPr userDrawn="1"/>
        </p:nvSpPr>
        <p:spPr bwMode="auto">
          <a:xfrm>
            <a:off x="8820074" y="37255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29"/>
            <a:endParaRPr lang="en-GB" sz="800" dirty="0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8048" y="556562"/>
            <a:ext cx="2345839" cy="2301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25162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247867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53549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12903" y="1056905"/>
            <a:ext cx="9282358" cy="50826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21052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12903" y="1056905"/>
            <a:ext cx="9282358" cy="50826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22837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697864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17061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8561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440554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505658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106811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5921616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376261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610536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16074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957150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00703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861342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729095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584298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96066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23063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4696043" y="6440538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EF4A1C4-200B-41BB-A782-06A6AE2A9130}" type="slidenum">
              <a:rPr lang="en-GB" sz="800">
                <a:solidFill>
                  <a:prstClr val="black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2400" dirty="0">
              <a:solidFill>
                <a:prstClr val="black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563498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09877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599455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422591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765730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544163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25550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263723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39395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38076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782468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353" y="1412881"/>
            <a:ext cx="9071197" cy="484112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05337" y="6448254"/>
            <a:ext cx="161488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2AF3FCFE-99B5-4480-BEB7-4405BA0AD468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345265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05766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943410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80281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230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641388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41029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053440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81627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116418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123705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4696043" y="6440538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EF4A1C4-200B-41BB-A782-06A6AE2A9130}" type="slidenum">
              <a:rPr lang="en-GB" sz="800">
                <a:solidFill>
                  <a:prstClr val="black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2400" dirty="0">
              <a:solidFill>
                <a:prstClr val="black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9688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06599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340031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97300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0801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10615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4985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2322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7945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4696043" y="6440538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282513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 txBox="1">
            <a:spLocks/>
          </p:cNvSpPr>
          <p:nvPr userDrawn="1"/>
        </p:nvSpPr>
        <p:spPr>
          <a:xfrm>
            <a:off x="277819" y="306023"/>
            <a:ext cx="8065551" cy="400110"/>
          </a:xfrm>
          <a:prstGeom prst="rect">
            <a:avLst/>
          </a:prstGeom>
        </p:spPr>
        <p:txBody>
          <a:bodyPr anchor="ctr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9pPr>
          </a:lstStyle>
          <a:p>
            <a:r>
              <a:rPr lang="en-GB" kern="0" dirty="0" smtClean="0">
                <a:solidFill>
                  <a:prstClr val="white"/>
                </a:solidFill>
              </a:rPr>
              <a:t>Click to edit Master title style</a:t>
            </a:r>
            <a:endParaRPr lang="en-GB" kern="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4361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57913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80215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3509072964"/>
              </p:ext>
            </p:extLst>
          </p:nvPr>
        </p:nvGraphicFramePr>
        <p:xfrm>
          <a:off x="1738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00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38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 userDrawn="1"/>
        </p:nvSpPr>
        <p:spPr bwMode="ltGray">
          <a:xfrm>
            <a:off x="472218" y="3125277"/>
            <a:ext cx="9041669" cy="3265288"/>
          </a:xfrm>
          <a:prstGeom prst="rect">
            <a:avLst/>
          </a:prstGeom>
          <a:solidFill>
            <a:srgbClr val="617D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 sz="1600" dirty="0">
              <a:solidFill>
                <a:srgbClr val="FFFFFF"/>
              </a:solidFill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645572" y="3699127"/>
            <a:ext cx="6627082" cy="2202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1400" cap="all" dirty="0" smtClean="0">
                <a:solidFill>
                  <a:srgbClr val="FFFFFF"/>
                </a:solidFill>
                <a:latin typeface="Calibri"/>
              </a:rPr>
              <a:t>Document type | Date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645573" y="2047038"/>
            <a:ext cx="6627082" cy="553998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defRPr sz="3600" b="0" cap="all" baseline="0">
                <a:solidFill>
                  <a:schemeClr val="accent3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645573" y="2646630"/>
            <a:ext cx="6627082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3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GB" noProof="0" dirty="0" smtClean="0"/>
              <a:t>Click to edit Master subtitle style</a:t>
            </a:r>
          </a:p>
        </p:txBody>
      </p:sp>
      <p:grpSp>
        <p:nvGrpSpPr>
          <p:cNvPr id="22" name="Group 21"/>
          <p:cNvGrpSpPr/>
          <p:nvPr userDrawn="1"/>
        </p:nvGrpSpPr>
        <p:grpSpPr bwMode="ltGray">
          <a:xfrm>
            <a:off x="362810" y="180317"/>
            <a:ext cx="9180382" cy="98554"/>
            <a:chOff x="334901" y="142217"/>
            <a:chExt cx="8474199" cy="98554"/>
          </a:xfrm>
        </p:grpSpPr>
        <p:sp>
          <p:nvSpPr>
            <p:cNvPr id="23" name="Rectangle 22"/>
            <p:cNvSpPr/>
            <p:nvPr userDrawn="1"/>
          </p:nvSpPr>
          <p:spPr bwMode="ltGray">
            <a:xfrm>
              <a:off x="334901" y="145774"/>
              <a:ext cx="2777490" cy="9499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 sz="1600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/>
            <p:cNvSpPr/>
            <p:nvPr userDrawn="1"/>
          </p:nvSpPr>
          <p:spPr bwMode="ltGray">
            <a:xfrm>
              <a:off x="6031610" y="142217"/>
              <a:ext cx="2777490" cy="9855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 sz="1600" dirty="0">
                <a:solidFill>
                  <a:srgbClr val="FFFFFF"/>
                </a:solidFill>
              </a:endParaRPr>
            </a:p>
          </p:txBody>
        </p:sp>
      </p:grpSp>
      <p:sp>
        <p:nvSpPr>
          <p:cNvPr id="25" name="Rectangle 24"/>
          <p:cNvSpPr/>
          <p:nvPr userDrawn="1"/>
        </p:nvSpPr>
        <p:spPr bwMode="auto">
          <a:xfrm>
            <a:off x="3446487" y="183874"/>
            <a:ext cx="3008948" cy="9144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 sz="1600" dirty="0">
              <a:solidFill>
                <a:srgbClr val="FFFFFF"/>
              </a:solidFill>
            </a:endParaRPr>
          </a:p>
        </p:txBody>
      </p:sp>
      <p:sp>
        <p:nvSpPr>
          <p:cNvPr id="26" name="doc id"/>
          <p:cNvSpPr>
            <a:spLocks noChangeArrowheads="1"/>
          </p:cNvSpPr>
          <p:nvPr userDrawn="1"/>
        </p:nvSpPr>
        <p:spPr bwMode="auto">
          <a:xfrm>
            <a:off x="8820074" y="37255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29"/>
            <a:endParaRPr lang="en-GB" sz="800" dirty="0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8048" y="556562"/>
            <a:ext cx="2345839" cy="2301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73932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4696043" y="6440538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49685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00" dirty="0">
              <a:solidFill>
                <a:srgbClr val="80808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5461518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4696043" y="6440538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525792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4696043" y="6440538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432682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353" y="1412881"/>
            <a:ext cx="9071197" cy="484112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05337" y="6448254"/>
            <a:ext cx="161488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2AF3FCFE-99B5-4480-BEB7-4405BA0AD468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4350897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4696043" y="6440538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367740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31319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52145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4696043" y="6440538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EF4A1C4-200B-41BB-A782-06A6AE2A9130}" type="slidenum">
              <a:rPr lang="en-GB" sz="800">
                <a:solidFill>
                  <a:prstClr val="black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2400" dirty="0">
              <a:solidFill>
                <a:prstClr val="black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935754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584735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986365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20941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03126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506801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113003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83223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81202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098082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565552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 txBox="1">
            <a:spLocks/>
          </p:cNvSpPr>
          <p:nvPr userDrawn="1"/>
        </p:nvSpPr>
        <p:spPr>
          <a:xfrm>
            <a:off x="277819" y="306023"/>
            <a:ext cx="8065551" cy="400110"/>
          </a:xfrm>
          <a:prstGeom prst="rect">
            <a:avLst/>
          </a:prstGeom>
        </p:spPr>
        <p:txBody>
          <a:bodyPr anchor="ctr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9pPr>
          </a:lstStyle>
          <a:p>
            <a:r>
              <a:rPr lang="en-GB" kern="0" dirty="0" smtClean="0">
                <a:solidFill>
                  <a:schemeClr val="bg1"/>
                </a:solidFill>
              </a:rPr>
              <a:t>Click to edit Master title style</a:t>
            </a:r>
            <a:endParaRPr lang="en-GB" kern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0571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717935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485382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48005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45037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988889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8170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797705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7021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89397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4717308" y="6406784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7EF4A1C4-200B-41BB-A782-06A6AE2A9130}" type="slidenum">
              <a:rPr lang="en-GB" sz="800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277" y="222622"/>
            <a:ext cx="8543925" cy="56115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346426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2.xml"/><Relationship Id="rId18" Type="http://schemas.openxmlformats.org/officeDocument/2006/relationships/slideLayout" Target="../slideLayouts/slideLayout27.xml"/><Relationship Id="rId26" Type="http://schemas.openxmlformats.org/officeDocument/2006/relationships/slideLayout" Target="../slideLayouts/slideLayout35.xml"/><Relationship Id="rId39" Type="http://schemas.openxmlformats.org/officeDocument/2006/relationships/slideLayout" Target="../slideLayouts/slideLayout48.xml"/><Relationship Id="rId21" Type="http://schemas.openxmlformats.org/officeDocument/2006/relationships/slideLayout" Target="../slideLayouts/slideLayout30.xml"/><Relationship Id="rId34" Type="http://schemas.openxmlformats.org/officeDocument/2006/relationships/slideLayout" Target="../slideLayouts/slideLayout43.xml"/><Relationship Id="rId42" Type="http://schemas.openxmlformats.org/officeDocument/2006/relationships/slideLayout" Target="../slideLayouts/slideLayout51.xml"/><Relationship Id="rId47" Type="http://schemas.openxmlformats.org/officeDocument/2006/relationships/slideLayout" Target="../slideLayouts/slideLayout56.xml"/><Relationship Id="rId50" Type="http://schemas.openxmlformats.org/officeDocument/2006/relationships/slideLayout" Target="../slideLayouts/slideLayout59.xml"/><Relationship Id="rId55" Type="http://schemas.openxmlformats.org/officeDocument/2006/relationships/slideLayout" Target="../slideLayouts/slideLayout64.xml"/><Relationship Id="rId7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1.xml"/><Relationship Id="rId16" Type="http://schemas.openxmlformats.org/officeDocument/2006/relationships/slideLayout" Target="../slideLayouts/slideLayout25.xml"/><Relationship Id="rId20" Type="http://schemas.openxmlformats.org/officeDocument/2006/relationships/slideLayout" Target="../slideLayouts/slideLayout29.xml"/><Relationship Id="rId29" Type="http://schemas.openxmlformats.org/officeDocument/2006/relationships/slideLayout" Target="../slideLayouts/slideLayout38.xml"/><Relationship Id="rId41" Type="http://schemas.openxmlformats.org/officeDocument/2006/relationships/slideLayout" Target="../slideLayouts/slideLayout50.xml"/><Relationship Id="rId54" Type="http://schemas.openxmlformats.org/officeDocument/2006/relationships/slideLayout" Target="../slideLayouts/slideLayout63.xml"/><Relationship Id="rId62" Type="http://schemas.openxmlformats.org/officeDocument/2006/relationships/image" Target="../media/image1.jpeg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24" Type="http://schemas.openxmlformats.org/officeDocument/2006/relationships/slideLayout" Target="../slideLayouts/slideLayout33.xml"/><Relationship Id="rId32" Type="http://schemas.openxmlformats.org/officeDocument/2006/relationships/slideLayout" Target="../slideLayouts/slideLayout41.xml"/><Relationship Id="rId37" Type="http://schemas.openxmlformats.org/officeDocument/2006/relationships/slideLayout" Target="../slideLayouts/slideLayout46.xml"/><Relationship Id="rId40" Type="http://schemas.openxmlformats.org/officeDocument/2006/relationships/slideLayout" Target="../slideLayouts/slideLayout49.xml"/><Relationship Id="rId45" Type="http://schemas.openxmlformats.org/officeDocument/2006/relationships/slideLayout" Target="../slideLayouts/slideLayout54.xml"/><Relationship Id="rId53" Type="http://schemas.openxmlformats.org/officeDocument/2006/relationships/slideLayout" Target="../slideLayouts/slideLayout62.xml"/><Relationship Id="rId58" Type="http://schemas.openxmlformats.org/officeDocument/2006/relationships/slideLayout" Target="../slideLayouts/slideLayout67.xml"/><Relationship Id="rId5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24.xml"/><Relationship Id="rId23" Type="http://schemas.openxmlformats.org/officeDocument/2006/relationships/slideLayout" Target="../slideLayouts/slideLayout32.xml"/><Relationship Id="rId28" Type="http://schemas.openxmlformats.org/officeDocument/2006/relationships/slideLayout" Target="../slideLayouts/slideLayout37.xml"/><Relationship Id="rId36" Type="http://schemas.openxmlformats.org/officeDocument/2006/relationships/slideLayout" Target="../slideLayouts/slideLayout45.xml"/><Relationship Id="rId49" Type="http://schemas.openxmlformats.org/officeDocument/2006/relationships/slideLayout" Target="../slideLayouts/slideLayout58.xml"/><Relationship Id="rId57" Type="http://schemas.openxmlformats.org/officeDocument/2006/relationships/slideLayout" Target="../slideLayouts/slideLayout66.xml"/><Relationship Id="rId61" Type="http://schemas.openxmlformats.org/officeDocument/2006/relationships/theme" Target="../theme/theme2.xml"/><Relationship Id="rId10" Type="http://schemas.openxmlformats.org/officeDocument/2006/relationships/slideLayout" Target="../slideLayouts/slideLayout19.xml"/><Relationship Id="rId19" Type="http://schemas.openxmlformats.org/officeDocument/2006/relationships/slideLayout" Target="../slideLayouts/slideLayout28.xml"/><Relationship Id="rId31" Type="http://schemas.openxmlformats.org/officeDocument/2006/relationships/slideLayout" Target="../slideLayouts/slideLayout40.xml"/><Relationship Id="rId44" Type="http://schemas.openxmlformats.org/officeDocument/2006/relationships/slideLayout" Target="../slideLayouts/slideLayout53.xml"/><Relationship Id="rId52" Type="http://schemas.openxmlformats.org/officeDocument/2006/relationships/slideLayout" Target="../slideLayouts/slideLayout61.xml"/><Relationship Id="rId60" Type="http://schemas.openxmlformats.org/officeDocument/2006/relationships/slideLayout" Target="../slideLayouts/slideLayout6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slideLayout" Target="../slideLayouts/slideLayout23.xml"/><Relationship Id="rId22" Type="http://schemas.openxmlformats.org/officeDocument/2006/relationships/slideLayout" Target="../slideLayouts/slideLayout31.xml"/><Relationship Id="rId27" Type="http://schemas.openxmlformats.org/officeDocument/2006/relationships/slideLayout" Target="../slideLayouts/slideLayout36.xml"/><Relationship Id="rId30" Type="http://schemas.openxmlformats.org/officeDocument/2006/relationships/slideLayout" Target="../slideLayouts/slideLayout39.xml"/><Relationship Id="rId35" Type="http://schemas.openxmlformats.org/officeDocument/2006/relationships/slideLayout" Target="../slideLayouts/slideLayout44.xml"/><Relationship Id="rId43" Type="http://schemas.openxmlformats.org/officeDocument/2006/relationships/slideLayout" Target="../slideLayouts/slideLayout52.xml"/><Relationship Id="rId48" Type="http://schemas.openxmlformats.org/officeDocument/2006/relationships/slideLayout" Target="../slideLayouts/slideLayout57.xml"/><Relationship Id="rId56" Type="http://schemas.openxmlformats.org/officeDocument/2006/relationships/slideLayout" Target="../slideLayouts/slideLayout65.xml"/><Relationship Id="rId8" Type="http://schemas.openxmlformats.org/officeDocument/2006/relationships/slideLayout" Target="../slideLayouts/slideLayout17.xml"/><Relationship Id="rId51" Type="http://schemas.openxmlformats.org/officeDocument/2006/relationships/slideLayout" Target="../slideLayouts/slideLayout60.xml"/><Relationship Id="rId3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21.xml"/><Relationship Id="rId17" Type="http://schemas.openxmlformats.org/officeDocument/2006/relationships/slideLayout" Target="../slideLayouts/slideLayout26.xml"/><Relationship Id="rId25" Type="http://schemas.openxmlformats.org/officeDocument/2006/relationships/slideLayout" Target="../slideLayouts/slideLayout34.xml"/><Relationship Id="rId33" Type="http://schemas.openxmlformats.org/officeDocument/2006/relationships/slideLayout" Target="../slideLayouts/slideLayout42.xml"/><Relationship Id="rId38" Type="http://schemas.openxmlformats.org/officeDocument/2006/relationships/slideLayout" Target="../slideLayouts/slideLayout47.xml"/><Relationship Id="rId46" Type="http://schemas.openxmlformats.org/officeDocument/2006/relationships/slideLayout" Target="../slideLayouts/slideLayout55.xml"/><Relationship Id="rId59" Type="http://schemas.openxmlformats.org/officeDocument/2006/relationships/slideLayout" Target="../slideLayouts/slideLayout68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2.xml"/><Relationship Id="rId18" Type="http://schemas.openxmlformats.org/officeDocument/2006/relationships/slideLayout" Target="../slideLayouts/slideLayout87.xml"/><Relationship Id="rId26" Type="http://schemas.openxmlformats.org/officeDocument/2006/relationships/slideLayout" Target="../slideLayouts/slideLayout95.xml"/><Relationship Id="rId39" Type="http://schemas.openxmlformats.org/officeDocument/2006/relationships/slideLayout" Target="../slideLayouts/slideLayout108.xml"/><Relationship Id="rId21" Type="http://schemas.openxmlformats.org/officeDocument/2006/relationships/slideLayout" Target="../slideLayouts/slideLayout90.xml"/><Relationship Id="rId34" Type="http://schemas.openxmlformats.org/officeDocument/2006/relationships/slideLayout" Target="../slideLayouts/slideLayout103.xml"/><Relationship Id="rId42" Type="http://schemas.openxmlformats.org/officeDocument/2006/relationships/slideLayout" Target="../slideLayouts/slideLayout111.xml"/><Relationship Id="rId47" Type="http://schemas.openxmlformats.org/officeDocument/2006/relationships/slideLayout" Target="../slideLayouts/slideLayout116.xml"/><Relationship Id="rId50" Type="http://schemas.openxmlformats.org/officeDocument/2006/relationships/slideLayout" Target="../slideLayouts/slideLayout119.xml"/><Relationship Id="rId55" Type="http://schemas.openxmlformats.org/officeDocument/2006/relationships/slideLayout" Target="../slideLayouts/slideLayout124.xml"/><Relationship Id="rId7" Type="http://schemas.openxmlformats.org/officeDocument/2006/relationships/slideLayout" Target="../slideLayouts/slideLayout76.xml"/><Relationship Id="rId12" Type="http://schemas.openxmlformats.org/officeDocument/2006/relationships/slideLayout" Target="../slideLayouts/slideLayout81.xml"/><Relationship Id="rId17" Type="http://schemas.openxmlformats.org/officeDocument/2006/relationships/slideLayout" Target="../slideLayouts/slideLayout86.xml"/><Relationship Id="rId25" Type="http://schemas.openxmlformats.org/officeDocument/2006/relationships/slideLayout" Target="../slideLayouts/slideLayout94.xml"/><Relationship Id="rId33" Type="http://schemas.openxmlformats.org/officeDocument/2006/relationships/slideLayout" Target="../slideLayouts/slideLayout102.xml"/><Relationship Id="rId38" Type="http://schemas.openxmlformats.org/officeDocument/2006/relationships/slideLayout" Target="../slideLayouts/slideLayout107.xml"/><Relationship Id="rId46" Type="http://schemas.openxmlformats.org/officeDocument/2006/relationships/slideLayout" Target="../slideLayouts/slideLayout115.xml"/><Relationship Id="rId2" Type="http://schemas.openxmlformats.org/officeDocument/2006/relationships/slideLayout" Target="../slideLayouts/slideLayout71.xml"/><Relationship Id="rId16" Type="http://schemas.openxmlformats.org/officeDocument/2006/relationships/slideLayout" Target="../slideLayouts/slideLayout85.xml"/><Relationship Id="rId20" Type="http://schemas.openxmlformats.org/officeDocument/2006/relationships/slideLayout" Target="../slideLayouts/slideLayout89.xml"/><Relationship Id="rId29" Type="http://schemas.openxmlformats.org/officeDocument/2006/relationships/slideLayout" Target="../slideLayouts/slideLayout98.xml"/><Relationship Id="rId41" Type="http://schemas.openxmlformats.org/officeDocument/2006/relationships/slideLayout" Target="../slideLayouts/slideLayout110.xml"/><Relationship Id="rId54" Type="http://schemas.openxmlformats.org/officeDocument/2006/relationships/slideLayout" Target="../slideLayouts/slideLayout123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24" Type="http://schemas.openxmlformats.org/officeDocument/2006/relationships/slideLayout" Target="../slideLayouts/slideLayout93.xml"/><Relationship Id="rId32" Type="http://schemas.openxmlformats.org/officeDocument/2006/relationships/slideLayout" Target="../slideLayouts/slideLayout101.xml"/><Relationship Id="rId37" Type="http://schemas.openxmlformats.org/officeDocument/2006/relationships/slideLayout" Target="../slideLayouts/slideLayout106.xml"/><Relationship Id="rId40" Type="http://schemas.openxmlformats.org/officeDocument/2006/relationships/slideLayout" Target="../slideLayouts/slideLayout109.xml"/><Relationship Id="rId45" Type="http://schemas.openxmlformats.org/officeDocument/2006/relationships/slideLayout" Target="../slideLayouts/slideLayout114.xml"/><Relationship Id="rId53" Type="http://schemas.openxmlformats.org/officeDocument/2006/relationships/slideLayout" Target="../slideLayouts/slideLayout122.xml"/><Relationship Id="rId58" Type="http://schemas.openxmlformats.org/officeDocument/2006/relationships/image" Target="../media/image1.jpeg"/><Relationship Id="rId5" Type="http://schemas.openxmlformats.org/officeDocument/2006/relationships/slideLayout" Target="../slideLayouts/slideLayout74.xml"/><Relationship Id="rId15" Type="http://schemas.openxmlformats.org/officeDocument/2006/relationships/slideLayout" Target="../slideLayouts/slideLayout84.xml"/><Relationship Id="rId23" Type="http://schemas.openxmlformats.org/officeDocument/2006/relationships/slideLayout" Target="../slideLayouts/slideLayout92.xml"/><Relationship Id="rId28" Type="http://schemas.openxmlformats.org/officeDocument/2006/relationships/slideLayout" Target="../slideLayouts/slideLayout97.xml"/><Relationship Id="rId36" Type="http://schemas.openxmlformats.org/officeDocument/2006/relationships/slideLayout" Target="../slideLayouts/slideLayout105.xml"/><Relationship Id="rId49" Type="http://schemas.openxmlformats.org/officeDocument/2006/relationships/slideLayout" Target="../slideLayouts/slideLayout118.xml"/><Relationship Id="rId57" Type="http://schemas.openxmlformats.org/officeDocument/2006/relationships/theme" Target="../theme/theme3.xml"/><Relationship Id="rId10" Type="http://schemas.openxmlformats.org/officeDocument/2006/relationships/slideLayout" Target="../slideLayouts/slideLayout79.xml"/><Relationship Id="rId19" Type="http://schemas.openxmlformats.org/officeDocument/2006/relationships/slideLayout" Target="../slideLayouts/slideLayout88.xml"/><Relationship Id="rId31" Type="http://schemas.openxmlformats.org/officeDocument/2006/relationships/slideLayout" Target="../slideLayouts/slideLayout100.xml"/><Relationship Id="rId44" Type="http://schemas.openxmlformats.org/officeDocument/2006/relationships/slideLayout" Target="../slideLayouts/slideLayout113.xml"/><Relationship Id="rId52" Type="http://schemas.openxmlformats.org/officeDocument/2006/relationships/slideLayout" Target="../slideLayouts/slideLayout121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14" Type="http://schemas.openxmlformats.org/officeDocument/2006/relationships/slideLayout" Target="../slideLayouts/slideLayout83.xml"/><Relationship Id="rId22" Type="http://schemas.openxmlformats.org/officeDocument/2006/relationships/slideLayout" Target="../slideLayouts/slideLayout91.xml"/><Relationship Id="rId27" Type="http://schemas.openxmlformats.org/officeDocument/2006/relationships/slideLayout" Target="../slideLayouts/slideLayout96.xml"/><Relationship Id="rId30" Type="http://schemas.openxmlformats.org/officeDocument/2006/relationships/slideLayout" Target="../slideLayouts/slideLayout99.xml"/><Relationship Id="rId35" Type="http://schemas.openxmlformats.org/officeDocument/2006/relationships/slideLayout" Target="../slideLayouts/slideLayout104.xml"/><Relationship Id="rId43" Type="http://schemas.openxmlformats.org/officeDocument/2006/relationships/slideLayout" Target="../slideLayouts/slideLayout112.xml"/><Relationship Id="rId48" Type="http://schemas.openxmlformats.org/officeDocument/2006/relationships/slideLayout" Target="../slideLayouts/slideLayout117.xml"/><Relationship Id="rId56" Type="http://schemas.openxmlformats.org/officeDocument/2006/relationships/slideLayout" Target="../slideLayouts/slideLayout125.xml"/><Relationship Id="rId8" Type="http://schemas.openxmlformats.org/officeDocument/2006/relationships/slideLayout" Target="../slideLayouts/slideLayout77.xml"/><Relationship Id="rId51" Type="http://schemas.openxmlformats.org/officeDocument/2006/relationships/slideLayout" Target="../slideLayouts/slideLayout120.xml"/><Relationship Id="rId3" Type="http://schemas.openxmlformats.org/officeDocument/2006/relationships/slideLayout" Target="../slideLayouts/slideLayout72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8.xml"/><Relationship Id="rId18" Type="http://schemas.openxmlformats.org/officeDocument/2006/relationships/slideLayout" Target="../slideLayouts/slideLayout143.xml"/><Relationship Id="rId26" Type="http://schemas.openxmlformats.org/officeDocument/2006/relationships/slideLayout" Target="../slideLayouts/slideLayout151.xml"/><Relationship Id="rId39" Type="http://schemas.openxmlformats.org/officeDocument/2006/relationships/slideLayout" Target="../slideLayouts/slideLayout164.xml"/><Relationship Id="rId21" Type="http://schemas.openxmlformats.org/officeDocument/2006/relationships/slideLayout" Target="../slideLayouts/slideLayout146.xml"/><Relationship Id="rId34" Type="http://schemas.openxmlformats.org/officeDocument/2006/relationships/slideLayout" Target="../slideLayouts/slideLayout159.xml"/><Relationship Id="rId42" Type="http://schemas.openxmlformats.org/officeDocument/2006/relationships/slideLayout" Target="../slideLayouts/slideLayout167.xml"/><Relationship Id="rId47" Type="http://schemas.openxmlformats.org/officeDocument/2006/relationships/slideLayout" Target="../slideLayouts/slideLayout172.xml"/><Relationship Id="rId50" Type="http://schemas.openxmlformats.org/officeDocument/2006/relationships/slideLayout" Target="../slideLayouts/slideLayout175.xml"/><Relationship Id="rId55" Type="http://schemas.openxmlformats.org/officeDocument/2006/relationships/slideLayout" Target="../slideLayouts/slideLayout180.xml"/><Relationship Id="rId7" Type="http://schemas.openxmlformats.org/officeDocument/2006/relationships/slideLayout" Target="../slideLayouts/slideLayout132.xml"/><Relationship Id="rId12" Type="http://schemas.openxmlformats.org/officeDocument/2006/relationships/slideLayout" Target="../slideLayouts/slideLayout137.xml"/><Relationship Id="rId17" Type="http://schemas.openxmlformats.org/officeDocument/2006/relationships/slideLayout" Target="../slideLayouts/slideLayout142.xml"/><Relationship Id="rId25" Type="http://schemas.openxmlformats.org/officeDocument/2006/relationships/slideLayout" Target="../slideLayouts/slideLayout150.xml"/><Relationship Id="rId33" Type="http://schemas.openxmlformats.org/officeDocument/2006/relationships/slideLayout" Target="../slideLayouts/slideLayout158.xml"/><Relationship Id="rId38" Type="http://schemas.openxmlformats.org/officeDocument/2006/relationships/slideLayout" Target="../slideLayouts/slideLayout163.xml"/><Relationship Id="rId46" Type="http://schemas.openxmlformats.org/officeDocument/2006/relationships/slideLayout" Target="../slideLayouts/slideLayout171.xml"/><Relationship Id="rId59" Type="http://schemas.openxmlformats.org/officeDocument/2006/relationships/image" Target="../media/image1.jpeg"/><Relationship Id="rId2" Type="http://schemas.openxmlformats.org/officeDocument/2006/relationships/slideLayout" Target="../slideLayouts/slideLayout127.xml"/><Relationship Id="rId16" Type="http://schemas.openxmlformats.org/officeDocument/2006/relationships/slideLayout" Target="../slideLayouts/slideLayout141.xml"/><Relationship Id="rId20" Type="http://schemas.openxmlformats.org/officeDocument/2006/relationships/slideLayout" Target="../slideLayouts/slideLayout145.xml"/><Relationship Id="rId29" Type="http://schemas.openxmlformats.org/officeDocument/2006/relationships/slideLayout" Target="../slideLayouts/slideLayout154.xml"/><Relationship Id="rId41" Type="http://schemas.openxmlformats.org/officeDocument/2006/relationships/slideLayout" Target="../slideLayouts/slideLayout166.xml"/><Relationship Id="rId54" Type="http://schemas.openxmlformats.org/officeDocument/2006/relationships/slideLayout" Target="../slideLayouts/slideLayout179.xml"/><Relationship Id="rId1" Type="http://schemas.openxmlformats.org/officeDocument/2006/relationships/slideLayout" Target="../slideLayouts/slideLayout126.xml"/><Relationship Id="rId6" Type="http://schemas.openxmlformats.org/officeDocument/2006/relationships/slideLayout" Target="../slideLayouts/slideLayout131.xml"/><Relationship Id="rId11" Type="http://schemas.openxmlformats.org/officeDocument/2006/relationships/slideLayout" Target="../slideLayouts/slideLayout136.xml"/><Relationship Id="rId24" Type="http://schemas.openxmlformats.org/officeDocument/2006/relationships/slideLayout" Target="../slideLayouts/slideLayout149.xml"/><Relationship Id="rId32" Type="http://schemas.openxmlformats.org/officeDocument/2006/relationships/slideLayout" Target="../slideLayouts/slideLayout157.xml"/><Relationship Id="rId37" Type="http://schemas.openxmlformats.org/officeDocument/2006/relationships/slideLayout" Target="../slideLayouts/slideLayout162.xml"/><Relationship Id="rId40" Type="http://schemas.openxmlformats.org/officeDocument/2006/relationships/slideLayout" Target="../slideLayouts/slideLayout165.xml"/><Relationship Id="rId45" Type="http://schemas.openxmlformats.org/officeDocument/2006/relationships/slideLayout" Target="../slideLayouts/slideLayout170.xml"/><Relationship Id="rId53" Type="http://schemas.openxmlformats.org/officeDocument/2006/relationships/slideLayout" Target="../slideLayouts/slideLayout178.xml"/><Relationship Id="rId58" Type="http://schemas.openxmlformats.org/officeDocument/2006/relationships/theme" Target="../theme/theme4.xml"/><Relationship Id="rId5" Type="http://schemas.openxmlformats.org/officeDocument/2006/relationships/slideLayout" Target="../slideLayouts/slideLayout130.xml"/><Relationship Id="rId15" Type="http://schemas.openxmlformats.org/officeDocument/2006/relationships/slideLayout" Target="../slideLayouts/slideLayout140.xml"/><Relationship Id="rId23" Type="http://schemas.openxmlformats.org/officeDocument/2006/relationships/slideLayout" Target="../slideLayouts/slideLayout148.xml"/><Relationship Id="rId28" Type="http://schemas.openxmlformats.org/officeDocument/2006/relationships/slideLayout" Target="../slideLayouts/slideLayout153.xml"/><Relationship Id="rId36" Type="http://schemas.openxmlformats.org/officeDocument/2006/relationships/slideLayout" Target="../slideLayouts/slideLayout161.xml"/><Relationship Id="rId49" Type="http://schemas.openxmlformats.org/officeDocument/2006/relationships/slideLayout" Target="../slideLayouts/slideLayout174.xml"/><Relationship Id="rId57" Type="http://schemas.openxmlformats.org/officeDocument/2006/relationships/slideLayout" Target="../slideLayouts/slideLayout182.xml"/><Relationship Id="rId10" Type="http://schemas.openxmlformats.org/officeDocument/2006/relationships/slideLayout" Target="../slideLayouts/slideLayout135.xml"/><Relationship Id="rId19" Type="http://schemas.openxmlformats.org/officeDocument/2006/relationships/slideLayout" Target="../slideLayouts/slideLayout144.xml"/><Relationship Id="rId31" Type="http://schemas.openxmlformats.org/officeDocument/2006/relationships/slideLayout" Target="../slideLayouts/slideLayout156.xml"/><Relationship Id="rId44" Type="http://schemas.openxmlformats.org/officeDocument/2006/relationships/slideLayout" Target="../slideLayouts/slideLayout169.xml"/><Relationship Id="rId52" Type="http://schemas.openxmlformats.org/officeDocument/2006/relationships/slideLayout" Target="../slideLayouts/slideLayout177.xml"/><Relationship Id="rId4" Type="http://schemas.openxmlformats.org/officeDocument/2006/relationships/slideLayout" Target="../slideLayouts/slideLayout129.xml"/><Relationship Id="rId9" Type="http://schemas.openxmlformats.org/officeDocument/2006/relationships/slideLayout" Target="../slideLayouts/slideLayout134.xml"/><Relationship Id="rId14" Type="http://schemas.openxmlformats.org/officeDocument/2006/relationships/slideLayout" Target="../slideLayouts/slideLayout139.xml"/><Relationship Id="rId22" Type="http://schemas.openxmlformats.org/officeDocument/2006/relationships/slideLayout" Target="../slideLayouts/slideLayout147.xml"/><Relationship Id="rId27" Type="http://schemas.openxmlformats.org/officeDocument/2006/relationships/slideLayout" Target="../slideLayouts/slideLayout152.xml"/><Relationship Id="rId30" Type="http://schemas.openxmlformats.org/officeDocument/2006/relationships/slideLayout" Target="../slideLayouts/slideLayout155.xml"/><Relationship Id="rId35" Type="http://schemas.openxmlformats.org/officeDocument/2006/relationships/slideLayout" Target="../slideLayouts/slideLayout160.xml"/><Relationship Id="rId43" Type="http://schemas.openxmlformats.org/officeDocument/2006/relationships/slideLayout" Target="../slideLayouts/slideLayout168.xml"/><Relationship Id="rId48" Type="http://schemas.openxmlformats.org/officeDocument/2006/relationships/slideLayout" Target="../slideLayouts/slideLayout173.xml"/><Relationship Id="rId56" Type="http://schemas.openxmlformats.org/officeDocument/2006/relationships/slideLayout" Target="../slideLayouts/slideLayout181.xml"/><Relationship Id="rId8" Type="http://schemas.openxmlformats.org/officeDocument/2006/relationships/slideLayout" Target="../slideLayouts/slideLayout133.xml"/><Relationship Id="rId51" Type="http://schemas.openxmlformats.org/officeDocument/2006/relationships/slideLayout" Target="../slideLayouts/slideLayout176.xml"/><Relationship Id="rId3" Type="http://schemas.openxmlformats.org/officeDocument/2006/relationships/slideLayout" Target="../slideLayouts/slideLayout12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0.xml"/><Relationship Id="rId13" Type="http://schemas.openxmlformats.org/officeDocument/2006/relationships/slideLayout" Target="../slideLayouts/slideLayout195.xml"/><Relationship Id="rId3" Type="http://schemas.openxmlformats.org/officeDocument/2006/relationships/slideLayout" Target="../slideLayouts/slideLayout185.xml"/><Relationship Id="rId7" Type="http://schemas.openxmlformats.org/officeDocument/2006/relationships/slideLayout" Target="../slideLayouts/slideLayout189.xml"/><Relationship Id="rId12" Type="http://schemas.openxmlformats.org/officeDocument/2006/relationships/slideLayout" Target="../slideLayouts/slideLayout194.xml"/><Relationship Id="rId2" Type="http://schemas.openxmlformats.org/officeDocument/2006/relationships/slideLayout" Target="../slideLayouts/slideLayout184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83.xml"/><Relationship Id="rId6" Type="http://schemas.openxmlformats.org/officeDocument/2006/relationships/slideLayout" Target="../slideLayouts/slideLayout188.xml"/><Relationship Id="rId11" Type="http://schemas.openxmlformats.org/officeDocument/2006/relationships/slideLayout" Target="../slideLayouts/slideLayout193.xml"/><Relationship Id="rId5" Type="http://schemas.openxmlformats.org/officeDocument/2006/relationships/slideLayout" Target="../slideLayouts/slideLayout187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192.xml"/><Relationship Id="rId4" Type="http://schemas.openxmlformats.org/officeDocument/2006/relationships/slideLayout" Target="../slideLayouts/slideLayout186.xml"/><Relationship Id="rId9" Type="http://schemas.openxmlformats.org/officeDocument/2006/relationships/slideLayout" Target="../slideLayouts/slideLayout191.xml"/><Relationship Id="rId14" Type="http://schemas.openxmlformats.org/officeDocument/2006/relationships/slideLayout" Target="../slideLayouts/slideLayout19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4.xml"/><Relationship Id="rId13" Type="http://schemas.openxmlformats.org/officeDocument/2006/relationships/slideLayout" Target="../slideLayouts/slideLayout209.xml"/><Relationship Id="rId3" Type="http://schemas.openxmlformats.org/officeDocument/2006/relationships/slideLayout" Target="../slideLayouts/slideLayout199.xml"/><Relationship Id="rId7" Type="http://schemas.openxmlformats.org/officeDocument/2006/relationships/slideLayout" Target="../slideLayouts/slideLayout203.xml"/><Relationship Id="rId12" Type="http://schemas.openxmlformats.org/officeDocument/2006/relationships/slideLayout" Target="../slideLayouts/slideLayout208.xml"/><Relationship Id="rId2" Type="http://schemas.openxmlformats.org/officeDocument/2006/relationships/slideLayout" Target="../slideLayouts/slideLayout198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97.xml"/><Relationship Id="rId6" Type="http://schemas.openxmlformats.org/officeDocument/2006/relationships/slideLayout" Target="../slideLayouts/slideLayout202.xml"/><Relationship Id="rId11" Type="http://schemas.openxmlformats.org/officeDocument/2006/relationships/slideLayout" Target="../slideLayouts/slideLayout207.xml"/><Relationship Id="rId5" Type="http://schemas.openxmlformats.org/officeDocument/2006/relationships/slideLayout" Target="../slideLayouts/slideLayout201.xml"/><Relationship Id="rId15" Type="http://schemas.openxmlformats.org/officeDocument/2006/relationships/theme" Target="../theme/theme6.xml"/><Relationship Id="rId10" Type="http://schemas.openxmlformats.org/officeDocument/2006/relationships/slideLayout" Target="../slideLayouts/slideLayout206.xml"/><Relationship Id="rId4" Type="http://schemas.openxmlformats.org/officeDocument/2006/relationships/slideLayout" Target="../slideLayouts/slideLayout200.xml"/><Relationship Id="rId9" Type="http://schemas.openxmlformats.org/officeDocument/2006/relationships/slideLayout" Target="../slideLayouts/slideLayout205.xml"/><Relationship Id="rId14" Type="http://schemas.openxmlformats.org/officeDocument/2006/relationships/slideLayout" Target="../slideLayouts/slideLayout21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8.xml"/><Relationship Id="rId13" Type="http://schemas.openxmlformats.org/officeDocument/2006/relationships/slideLayout" Target="../slideLayouts/slideLayout223.xml"/><Relationship Id="rId3" Type="http://schemas.openxmlformats.org/officeDocument/2006/relationships/slideLayout" Target="../slideLayouts/slideLayout213.xml"/><Relationship Id="rId7" Type="http://schemas.openxmlformats.org/officeDocument/2006/relationships/slideLayout" Target="../slideLayouts/slideLayout217.xml"/><Relationship Id="rId12" Type="http://schemas.openxmlformats.org/officeDocument/2006/relationships/slideLayout" Target="../slideLayouts/slideLayout222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212.xml"/><Relationship Id="rId16" Type="http://schemas.openxmlformats.org/officeDocument/2006/relationships/theme" Target="../theme/theme7.xml"/><Relationship Id="rId1" Type="http://schemas.openxmlformats.org/officeDocument/2006/relationships/slideLayout" Target="../slideLayouts/slideLayout211.xml"/><Relationship Id="rId6" Type="http://schemas.openxmlformats.org/officeDocument/2006/relationships/slideLayout" Target="../slideLayouts/slideLayout216.xml"/><Relationship Id="rId11" Type="http://schemas.openxmlformats.org/officeDocument/2006/relationships/slideLayout" Target="../slideLayouts/slideLayout221.xml"/><Relationship Id="rId5" Type="http://schemas.openxmlformats.org/officeDocument/2006/relationships/slideLayout" Target="../slideLayouts/slideLayout215.xml"/><Relationship Id="rId15" Type="http://schemas.openxmlformats.org/officeDocument/2006/relationships/slideLayout" Target="../slideLayouts/slideLayout225.xml"/><Relationship Id="rId10" Type="http://schemas.openxmlformats.org/officeDocument/2006/relationships/slideLayout" Target="../slideLayouts/slideLayout220.xml"/><Relationship Id="rId4" Type="http://schemas.openxmlformats.org/officeDocument/2006/relationships/slideLayout" Target="../slideLayouts/slideLayout214.xml"/><Relationship Id="rId9" Type="http://schemas.openxmlformats.org/officeDocument/2006/relationships/slideLayout" Target="../slideLayouts/slideLayout219.xml"/><Relationship Id="rId14" Type="http://schemas.openxmlformats.org/officeDocument/2006/relationships/slideLayout" Target="../slideLayouts/slideLayout22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3.xml"/><Relationship Id="rId13" Type="http://schemas.openxmlformats.org/officeDocument/2006/relationships/slideLayout" Target="../slideLayouts/slideLayout238.xml"/><Relationship Id="rId3" Type="http://schemas.openxmlformats.org/officeDocument/2006/relationships/slideLayout" Target="../slideLayouts/slideLayout228.xml"/><Relationship Id="rId7" Type="http://schemas.openxmlformats.org/officeDocument/2006/relationships/slideLayout" Target="../slideLayouts/slideLayout232.xml"/><Relationship Id="rId12" Type="http://schemas.openxmlformats.org/officeDocument/2006/relationships/slideLayout" Target="../slideLayouts/slideLayout237.xml"/><Relationship Id="rId2" Type="http://schemas.openxmlformats.org/officeDocument/2006/relationships/slideLayout" Target="../slideLayouts/slideLayout227.xml"/><Relationship Id="rId1" Type="http://schemas.openxmlformats.org/officeDocument/2006/relationships/slideLayout" Target="../slideLayouts/slideLayout226.xml"/><Relationship Id="rId6" Type="http://schemas.openxmlformats.org/officeDocument/2006/relationships/slideLayout" Target="../slideLayouts/slideLayout231.xml"/><Relationship Id="rId11" Type="http://schemas.openxmlformats.org/officeDocument/2006/relationships/slideLayout" Target="../slideLayouts/slideLayout236.xml"/><Relationship Id="rId5" Type="http://schemas.openxmlformats.org/officeDocument/2006/relationships/slideLayout" Target="../slideLayouts/slideLayout230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235.xml"/><Relationship Id="rId4" Type="http://schemas.openxmlformats.org/officeDocument/2006/relationships/slideLayout" Target="../slideLayouts/slideLayout229.xml"/><Relationship Id="rId9" Type="http://schemas.openxmlformats.org/officeDocument/2006/relationships/slideLayout" Target="../slideLayouts/slideLayout234.xml"/><Relationship Id="rId14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1.xml"/><Relationship Id="rId7" Type="http://schemas.openxmlformats.org/officeDocument/2006/relationships/image" Target="../media/image4.jpeg"/><Relationship Id="rId2" Type="http://schemas.openxmlformats.org/officeDocument/2006/relationships/slideLayout" Target="../slideLayouts/slideLayout240.xml"/><Relationship Id="rId1" Type="http://schemas.openxmlformats.org/officeDocument/2006/relationships/slideLayout" Target="../slideLayouts/slideLayout239.xml"/><Relationship Id="rId6" Type="http://schemas.openxmlformats.org/officeDocument/2006/relationships/theme" Target="../theme/theme9.xml"/><Relationship Id="rId5" Type="http://schemas.openxmlformats.org/officeDocument/2006/relationships/slideLayout" Target="../slideLayouts/slideLayout243.xml"/><Relationship Id="rId4" Type="http://schemas.openxmlformats.org/officeDocument/2006/relationships/slideLayout" Target="../slideLayouts/slideLayout24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277819" y="6332924"/>
            <a:ext cx="9364662" cy="45719"/>
          </a:xfrm>
          <a:prstGeom prst="rect">
            <a:avLst/>
          </a:prstGeom>
          <a:solidFill>
            <a:srgbClr val="617D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77819" y="177422"/>
            <a:ext cx="9364662" cy="668975"/>
          </a:xfrm>
          <a:prstGeom prst="rect">
            <a:avLst/>
          </a:prstGeom>
          <a:solidFill>
            <a:srgbClr val="617D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Rectangle 105"/>
          <p:cNvSpPr txBox="1">
            <a:spLocks/>
          </p:cNvSpPr>
          <p:nvPr/>
        </p:nvSpPr>
        <p:spPr>
          <a:xfrm>
            <a:off x="277819" y="993086"/>
            <a:ext cx="9346514" cy="5220256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>
            <a:outerShdw blurRad="63500" dist="12700" dir="5400000" algn="t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txBody>
          <a:bodyPr wrap="none" anchor="ctr">
            <a:noAutofit/>
          </a:bodyPr>
          <a:lstStyle>
            <a:defPPr>
              <a:defRPr lang="en-US"/>
            </a:defPPr>
            <a:lvl1pPr>
              <a:defRPr>
                <a:solidFill>
                  <a:srgbClr val="000000"/>
                </a:solidFill>
                <a:latin typeface="+mn-lt"/>
                <a:cs typeface="Arial" charset="0"/>
              </a:defRPr>
            </a:lvl1pPr>
          </a:lstStyle>
          <a:p>
            <a:pPr lvl="1"/>
            <a:endParaRPr lang="en-US" sz="1200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8496" y="177420"/>
            <a:ext cx="683985" cy="67108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942" r:id="rId2"/>
    <p:sldLayoutId id="2147483943" r:id="rId3"/>
    <p:sldLayoutId id="2147483945" r:id="rId4"/>
    <p:sldLayoutId id="2147483946" r:id="rId5"/>
    <p:sldLayoutId id="2147483947" r:id="rId6"/>
    <p:sldLayoutId id="2147484427" r:id="rId7"/>
    <p:sldLayoutId id="2147484460" r:id="rId8"/>
    <p:sldLayoutId id="2147484464" r:id="rId9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9pPr>
    </p:titleStyle>
    <p:bodyStyle>
      <a:lvl1pPr marL="179388" indent="-179388" algn="l" rtl="0" eaLnBrk="1" fontAlgn="base" hangingPunct="1">
        <a:spcBef>
          <a:spcPts val="500"/>
        </a:spcBef>
        <a:spcAft>
          <a:spcPts val="500"/>
        </a:spcAft>
        <a:buClr>
          <a:srgbClr val="969696"/>
        </a:buClr>
        <a:buSzPct val="80000"/>
        <a:buFont typeface="Wingdings" pitchFamily="2" charset="2"/>
        <a:buChar char="n"/>
        <a:defRPr sz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536575" indent="-177800" algn="l" rtl="0" eaLnBrk="1" fontAlgn="base" hangingPunct="1">
        <a:spcBef>
          <a:spcPts val="500"/>
        </a:spcBef>
        <a:spcAft>
          <a:spcPts val="500"/>
        </a:spcAft>
        <a:buClr>
          <a:srgbClr val="969696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2pPr>
      <a:lvl3pPr marL="893763" indent="-177800" algn="l" rtl="0" eaLnBrk="1" fontAlgn="base" hangingPunct="1">
        <a:spcBef>
          <a:spcPts val="500"/>
        </a:spcBef>
        <a:spcAft>
          <a:spcPts val="500"/>
        </a:spcAft>
        <a:buClr>
          <a:srgbClr val="969696"/>
        </a:buClr>
        <a:buSzPct val="80000"/>
        <a:buFont typeface="Arial" charset="0"/>
        <a:buChar char="►"/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3pPr>
      <a:lvl4pPr marL="1250950" indent="-177800" algn="l" rtl="0" eaLnBrk="1" fontAlgn="base" hangingPunct="1">
        <a:spcBef>
          <a:spcPts val="500"/>
        </a:spcBef>
        <a:spcAft>
          <a:spcPts val="500"/>
        </a:spcAft>
        <a:buClr>
          <a:srgbClr val="969696"/>
        </a:buClr>
        <a:buSzPct val="80000"/>
        <a:buFont typeface="Wingdings" pitchFamily="2" charset="2"/>
        <a:buChar char="n"/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4pPr>
      <a:lvl5pPr marL="1619250" indent="-188913" algn="l" rtl="0" eaLnBrk="1" fontAlgn="base" hangingPunct="1">
        <a:spcBef>
          <a:spcPts val="500"/>
        </a:spcBef>
        <a:spcAft>
          <a:spcPts val="500"/>
        </a:spcAft>
        <a:buClr>
          <a:srgbClr val="969696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5pPr>
      <a:lvl6pPr marL="2076450" indent="-188913" algn="l" rtl="0" eaLnBrk="1" fontAlgn="base" hangingPunct="1">
        <a:spcBef>
          <a:spcPts val="300"/>
        </a:spcBef>
        <a:spcAft>
          <a:spcPts val="300"/>
        </a:spcAft>
        <a:buClr>
          <a:srgbClr val="999999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+mn-lt"/>
        </a:defRPr>
      </a:lvl6pPr>
      <a:lvl7pPr marL="2533650" indent="-188913" algn="l" rtl="0" eaLnBrk="1" fontAlgn="base" hangingPunct="1">
        <a:spcBef>
          <a:spcPts val="300"/>
        </a:spcBef>
        <a:spcAft>
          <a:spcPts val="300"/>
        </a:spcAft>
        <a:buClr>
          <a:srgbClr val="999999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+mn-lt"/>
        </a:defRPr>
      </a:lvl7pPr>
      <a:lvl8pPr marL="2990850" indent="-188913" algn="l" rtl="0" eaLnBrk="1" fontAlgn="base" hangingPunct="1">
        <a:spcBef>
          <a:spcPts val="300"/>
        </a:spcBef>
        <a:spcAft>
          <a:spcPts val="300"/>
        </a:spcAft>
        <a:buClr>
          <a:srgbClr val="999999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+mn-lt"/>
        </a:defRPr>
      </a:lvl8pPr>
      <a:lvl9pPr marL="3448050" indent="-188913" algn="l" rtl="0" eaLnBrk="1" fontAlgn="base" hangingPunct="1">
        <a:spcBef>
          <a:spcPts val="300"/>
        </a:spcBef>
        <a:spcAft>
          <a:spcPts val="300"/>
        </a:spcAft>
        <a:buClr>
          <a:srgbClr val="999999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277819" y="6332924"/>
            <a:ext cx="9364662" cy="45719"/>
          </a:xfrm>
          <a:prstGeom prst="rect">
            <a:avLst/>
          </a:prstGeom>
          <a:solidFill>
            <a:srgbClr val="617D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77819" y="177422"/>
            <a:ext cx="9364662" cy="668975"/>
          </a:xfrm>
          <a:prstGeom prst="rect">
            <a:avLst/>
          </a:prstGeom>
          <a:solidFill>
            <a:srgbClr val="617D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Rectangle 105"/>
          <p:cNvSpPr txBox="1">
            <a:spLocks/>
          </p:cNvSpPr>
          <p:nvPr/>
        </p:nvSpPr>
        <p:spPr>
          <a:xfrm>
            <a:off x="277819" y="993086"/>
            <a:ext cx="9346514" cy="5220256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>
            <a:outerShdw blurRad="63500" dist="12700" dir="5400000" algn="t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txBody>
          <a:bodyPr wrap="none" anchor="ctr">
            <a:noAutofit/>
          </a:bodyPr>
          <a:lstStyle>
            <a:defPPr>
              <a:defRPr lang="en-US"/>
            </a:defPPr>
            <a:lvl1pPr>
              <a:defRPr>
                <a:solidFill>
                  <a:srgbClr val="000000"/>
                </a:solidFill>
                <a:latin typeface="+mn-lt"/>
                <a:cs typeface="Arial" charset="0"/>
              </a:defRPr>
            </a:lvl1pPr>
          </a:lstStyle>
          <a:p>
            <a:pPr lvl="1"/>
            <a:endParaRPr lang="en-US" sz="1200" dirty="0">
              <a:solidFill>
                <a:prstClr val="black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6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8496" y="177420"/>
            <a:ext cx="683985" cy="67108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7270578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28" r:id="rId1"/>
    <p:sldLayoutId id="2147484529" r:id="rId2"/>
    <p:sldLayoutId id="2147484530" r:id="rId3"/>
    <p:sldLayoutId id="2147484531" r:id="rId4"/>
    <p:sldLayoutId id="2147484532" r:id="rId5"/>
    <p:sldLayoutId id="2147484533" r:id="rId6"/>
    <p:sldLayoutId id="2147484534" r:id="rId7"/>
    <p:sldLayoutId id="2147484535" r:id="rId8"/>
    <p:sldLayoutId id="2147484536" r:id="rId9"/>
    <p:sldLayoutId id="2147484537" r:id="rId10"/>
    <p:sldLayoutId id="2147484538" r:id="rId11"/>
    <p:sldLayoutId id="2147484539" r:id="rId12"/>
    <p:sldLayoutId id="2147484540" r:id="rId13"/>
    <p:sldLayoutId id="2147484541" r:id="rId14"/>
    <p:sldLayoutId id="2147484542" r:id="rId15"/>
    <p:sldLayoutId id="2147484543" r:id="rId16"/>
    <p:sldLayoutId id="2147484544" r:id="rId17"/>
    <p:sldLayoutId id="2147484545" r:id="rId18"/>
    <p:sldLayoutId id="2147484546" r:id="rId19"/>
    <p:sldLayoutId id="2147484547" r:id="rId20"/>
    <p:sldLayoutId id="2147484548" r:id="rId21"/>
    <p:sldLayoutId id="2147484549" r:id="rId22"/>
    <p:sldLayoutId id="2147484550" r:id="rId23"/>
    <p:sldLayoutId id="2147484551" r:id="rId24"/>
    <p:sldLayoutId id="2147484552" r:id="rId25"/>
    <p:sldLayoutId id="2147484553" r:id="rId26"/>
    <p:sldLayoutId id="2147484554" r:id="rId27"/>
    <p:sldLayoutId id="2147484555" r:id="rId28"/>
    <p:sldLayoutId id="2147484556" r:id="rId29"/>
    <p:sldLayoutId id="2147484557" r:id="rId30"/>
    <p:sldLayoutId id="2147484558" r:id="rId31"/>
    <p:sldLayoutId id="2147484559" r:id="rId32"/>
    <p:sldLayoutId id="2147484560" r:id="rId33"/>
    <p:sldLayoutId id="2147484561" r:id="rId34"/>
    <p:sldLayoutId id="2147484562" r:id="rId35"/>
    <p:sldLayoutId id="2147484563" r:id="rId36"/>
    <p:sldLayoutId id="2147484564" r:id="rId37"/>
    <p:sldLayoutId id="2147484565" r:id="rId38"/>
    <p:sldLayoutId id="2147484566" r:id="rId39"/>
    <p:sldLayoutId id="2147484567" r:id="rId40"/>
    <p:sldLayoutId id="2147484568" r:id="rId41"/>
    <p:sldLayoutId id="2147484569" r:id="rId42"/>
    <p:sldLayoutId id="2147484570" r:id="rId43"/>
    <p:sldLayoutId id="2147484571" r:id="rId44"/>
    <p:sldLayoutId id="2147484572" r:id="rId45"/>
    <p:sldLayoutId id="2147484573" r:id="rId46"/>
    <p:sldLayoutId id="2147484574" r:id="rId47"/>
    <p:sldLayoutId id="2147484575" r:id="rId48"/>
    <p:sldLayoutId id="2147484576" r:id="rId49"/>
    <p:sldLayoutId id="2147484577" r:id="rId50"/>
    <p:sldLayoutId id="2147484578" r:id="rId51"/>
    <p:sldLayoutId id="2147484579" r:id="rId52"/>
    <p:sldLayoutId id="2147484580" r:id="rId53"/>
    <p:sldLayoutId id="2147484581" r:id="rId54"/>
    <p:sldLayoutId id="2147484582" r:id="rId55"/>
    <p:sldLayoutId id="2147484583" r:id="rId56"/>
    <p:sldLayoutId id="2147484584" r:id="rId57"/>
    <p:sldLayoutId id="2147484585" r:id="rId58"/>
    <p:sldLayoutId id="2147484586" r:id="rId59"/>
    <p:sldLayoutId id="2147484587" r:id="rId60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9pPr>
    </p:titleStyle>
    <p:bodyStyle>
      <a:lvl1pPr marL="179388" indent="-179388" algn="l" rtl="0" eaLnBrk="1" fontAlgn="base" hangingPunct="1">
        <a:spcBef>
          <a:spcPts val="500"/>
        </a:spcBef>
        <a:spcAft>
          <a:spcPts val="500"/>
        </a:spcAft>
        <a:buClr>
          <a:srgbClr val="969696"/>
        </a:buClr>
        <a:buSzPct val="80000"/>
        <a:buFont typeface="Wingdings" pitchFamily="2" charset="2"/>
        <a:buChar char="n"/>
        <a:defRPr sz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536575" indent="-177800" algn="l" rtl="0" eaLnBrk="1" fontAlgn="base" hangingPunct="1">
        <a:spcBef>
          <a:spcPts val="500"/>
        </a:spcBef>
        <a:spcAft>
          <a:spcPts val="500"/>
        </a:spcAft>
        <a:buClr>
          <a:srgbClr val="969696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2pPr>
      <a:lvl3pPr marL="893763" indent="-177800" algn="l" rtl="0" eaLnBrk="1" fontAlgn="base" hangingPunct="1">
        <a:spcBef>
          <a:spcPts val="500"/>
        </a:spcBef>
        <a:spcAft>
          <a:spcPts val="500"/>
        </a:spcAft>
        <a:buClr>
          <a:srgbClr val="969696"/>
        </a:buClr>
        <a:buSzPct val="80000"/>
        <a:buFont typeface="Arial" charset="0"/>
        <a:buChar char="►"/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3pPr>
      <a:lvl4pPr marL="1250950" indent="-177800" algn="l" rtl="0" eaLnBrk="1" fontAlgn="base" hangingPunct="1">
        <a:spcBef>
          <a:spcPts val="500"/>
        </a:spcBef>
        <a:spcAft>
          <a:spcPts val="500"/>
        </a:spcAft>
        <a:buClr>
          <a:srgbClr val="969696"/>
        </a:buClr>
        <a:buSzPct val="80000"/>
        <a:buFont typeface="Wingdings" pitchFamily="2" charset="2"/>
        <a:buChar char="n"/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4pPr>
      <a:lvl5pPr marL="1619250" indent="-188913" algn="l" rtl="0" eaLnBrk="1" fontAlgn="base" hangingPunct="1">
        <a:spcBef>
          <a:spcPts val="500"/>
        </a:spcBef>
        <a:spcAft>
          <a:spcPts val="500"/>
        </a:spcAft>
        <a:buClr>
          <a:srgbClr val="969696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5pPr>
      <a:lvl6pPr marL="2076450" indent="-188913" algn="l" rtl="0" eaLnBrk="1" fontAlgn="base" hangingPunct="1">
        <a:spcBef>
          <a:spcPts val="300"/>
        </a:spcBef>
        <a:spcAft>
          <a:spcPts val="300"/>
        </a:spcAft>
        <a:buClr>
          <a:srgbClr val="999999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+mn-lt"/>
        </a:defRPr>
      </a:lvl6pPr>
      <a:lvl7pPr marL="2533650" indent="-188913" algn="l" rtl="0" eaLnBrk="1" fontAlgn="base" hangingPunct="1">
        <a:spcBef>
          <a:spcPts val="300"/>
        </a:spcBef>
        <a:spcAft>
          <a:spcPts val="300"/>
        </a:spcAft>
        <a:buClr>
          <a:srgbClr val="999999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+mn-lt"/>
        </a:defRPr>
      </a:lvl7pPr>
      <a:lvl8pPr marL="2990850" indent="-188913" algn="l" rtl="0" eaLnBrk="1" fontAlgn="base" hangingPunct="1">
        <a:spcBef>
          <a:spcPts val="300"/>
        </a:spcBef>
        <a:spcAft>
          <a:spcPts val="300"/>
        </a:spcAft>
        <a:buClr>
          <a:srgbClr val="999999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+mn-lt"/>
        </a:defRPr>
      </a:lvl8pPr>
      <a:lvl9pPr marL="3448050" indent="-188913" algn="l" rtl="0" eaLnBrk="1" fontAlgn="base" hangingPunct="1">
        <a:spcBef>
          <a:spcPts val="300"/>
        </a:spcBef>
        <a:spcAft>
          <a:spcPts val="300"/>
        </a:spcAft>
        <a:buClr>
          <a:srgbClr val="999999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277819" y="6332924"/>
            <a:ext cx="9364662" cy="45719"/>
          </a:xfrm>
          <a:prstGeom prst="rect">
            <a:avLst/>
          </a:prstGeom>
          <a:solidFill>
            <a:srgbClr val="617D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77819" y="177422"/>
            <a:ext cx="9364662" cy="668975"/>
          </a:xfrm>
          <a:prstGeom prst="rect">
            <a:avLst/>
          </a:prstGeom>
          <a:solidFill>
            <a:srgbClr val="617D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Rectangle 105"/>
          <p:cNvSpPr txBox="1">
            <a:spLocks/>
          </p:cNvSpPr>
          <p:nvPr/>
        </p:nvSpPr>
        <p:spPr>
          <a:xfrm>
            <a:off x="277819" y="993086"/>
            <a:ext cx="9346514" cy="5220256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>
            <a:outerShdw blurRad="63500" dist="12700" dir="5400000" algn="t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txBody>
          <a:bodyPr wrap="none" anchor="ctr">
            <a:noAutofit/>
          </a:bodyPr>
          <a:lstStyle>
            <a:defPPr>
              <a:defRPr lang="en-US"/>
            </a:defPPr>
            <a:lvl1pPr>
              <a:defRPr>
                <a:solidFill>
                  <a:srgbClr val="000000"/>
                </a:solidFill>
                <a:latin typeface="+mn-lt"/>
                <a:cs typeface="Arial" charset="0"/>
              </a:defRPr>
            </a:lvl1pPr>
          </a:lstStyle>
          <a:p>
            <a:pPr lvl="1"/>
            <a:endParaRPr lang="en-US" sz="1200" dirty="0">
              <a:solidFill>
                <a:prstClr val="black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8496" y="177420"/>
            <a:ext cx="683985" cy="67108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056739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91" r:id="rId1"/>
    <p:sldLayoutId id="2147484592" r:id="rId2"/>
    <p:sldLayoutId id="2147484593" r:id="rId3"/>
    <p:sldLayoutId id="2147484594" r:id="rId4"/>
    <p:sldLayoutId id="2147484595" r:id="rId5"/>
    <p:sldLayoutId id="2147484596" r:id="rId6"/>
    <p:sldLayoutId id="2147484597" r:id="rId7"/>
    <p:sldLayoutId id="2147484598" r:id="rId8"/>
    <p:sldLayoutId id="2147484599" r:id="rId9"/>
    <p:sldLayoutId id="2147484600" r:id="rId10"/>
    <p:sldLayoutId id="2147484601" r:id="rId11"/>
    <p:sldLayoutId id="2147484602" r:id="rId12"/>
    <p:sldLayoutId id="2147484603" r:id="rId13"/>
    <p:sldLayoutId id="2147484604" r:id="rId14"/>
    <p:sldLayoutId id="2147484605" r:id="rId15"/>
    <p:sldLayoutId id="2147484606" r:id="rId16"/>
    <p:sldLayoutId id="2147484607" r:id="rId17"/>
    <p:sldLayoutId id="2147484608" r:id="rId18"/>
    <p:sldLayoutId id="2147484609" r:id="rId19"/>
    <p:sldLayoutId id="2147484610" r:id="rId20"/>
    <p:sldLayoutId id="2147484611" r:id="rId21"/>
    <p:sldLayoutId id="2147484612" r:id="rId22"/>
    <p:sldLayoutId id="2147484613" r:id="rId23"/>
    <p:sldLayoutId id="2147484614" r:id="rId24"/>
    <p:sldLayoutId id="2147484615" r:id="rId25"/>
    <p:sldLayoutId id="2147484616" r:id="rId26"/>
    <p:sldLayoutId id="2147484617" r:id="rId27"/>
    <p:sldLayoutId id="2147484618" r:id="rId28"/>
    <p:sldLayoutId id="2147484619" r:id="rId29"/>
    <p:sldLayoutId id="2147484620" r:id="rId30"/>
    <p:sldLayoutId id="2147484621" r:id="rId31"/>
    <p:sldLayoutId id="2147484623" r:id="rId32"/>
    <p:sldLayoutId id="2147484624" r:id="rId33"/>
    <p:sldLayoutId id="2147484625" r:id="rId34"/>
    <p:sldLayoutId id="2147484627" r:id="rId35"/>
    <p:sldLayoutId id="2147484628" r:id="rId36"/>
    <p:sldLayoutId id="2147484629" r:id="rId37"/>
    <p:sldLayoutId id="2147484630" r:id="rId38"/>
    <p:sldLayoutId id="2147484631" r:id="rId39"/>
    <p:sldLayoutId id="2147484632" r:id="rId40"/>
    <p:sldLayoutId id="2147484633" r:id="rId41"/>
    <p:sldLayoutId id="2147484634" r:id="rId42"/>
    <p:sldLayoutId id="2147484635" r:id="rId43"/>
    <p:sldLayoutId id="2147484636" r:id="rId44"/>
    <p:sldLayoutId id="2147484637" r:id="rId45"/>
    <p:sldLayoutId id="2147484638" r:id="rId46"/>
    <p:sldLayoutId id="2147484639" r:id="rId47"/>
    <p:sldLayoutId id="2147484640" r:id="rId48"/>
    <p:sldLayoutId id="2147484641" r:id="rId49"/>
    <p:sldLayoutId id="2147484642" r:id="rId50"/>
    <p:sldLayoutId id="2147484643" r:id="rId51"/>
    <p:sldLayoutId id="2147484644" r:id="rId52"/>
    <p:sldLayoutId id="2147484645" r:id="rId53"/>
    <p:sldLayoutId id="2147484646" r:id="rId54"/>
    <p:sldLayoutId id="2147484647" r:id="rId55"/>
    <p:sldLayoutId id="2147484648" r:id="rId56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9pPr>
    </p:titleStyle>
    <p:bodyStyle>
      <a:lvl1pPr marL="179388" indent="-179388" algn="l" rtl="0" eaLnBrk="1" fontAlgn="base" hangingPunct="1">
        <a:spcBef>
          <a:spcPts val="500"/>
        </a:spcBef>
        <a:spcAft>
          <a:spcPts val="500"/>
        </a:spcAft>
        <a:buClr>
          <a:srgbClr val="969696"/>
        </a:buClr>
        <a:buSzPct val="80000"/>
        <a:buFont typeface="Wingdings" pitchFamily="2" charset="2"/>
        <a:buChar char="n"/>
        <a:defRPr sz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536575" indent="-177800" algn="l" rtl="0" eaLnBrk="1" fontAlgn="base" hangingPunct="1">
        <a:spcBef>
          <a:spcPts val="500"/>
        </a:spcBef>
        <a:spcAft>
          <a:spcPts val="500"/>
        </a:spcAft>
        <a:buClr>
          <a:srgbClr val="969696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2pPr>
      <a:lvl3pPr marL="893763" indent="-177800" algn="l" rtl="0" eaLnBrk="1" fontAlgn="base" hangingPunct="1">
        <a:spcBef>
          <a:spcPts val="500"/>
        </a:spcBef>
        <a:spcAft>
          <a:spcPts val="500"/>
        </a:spcAft>
        <a:buClr>
          <a:srgbClr val="969696"/>
        </a:buClr>
        <a:buSzPct val="80000"/>
        <a:buFont typeface="Arial" charset="0"/>
        <a:buChar char="►"/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3pPr>
      <a:lvl4pPr marL="1250950" indent="-177800" algn="l" rtl="0" eaLnBrk="1" fontAlgn="base" hangingPunct="1">
        <a:spcBef>
          <a:spcPts val="500"/>
        </a:spcBef>
        <a:spcAft>
          <a:spcPts val="500"/>
        </a:spcAft>
        <a:buClr>
          <a:srgbClr val="969696"/>
        </a:buClr>
        <a:buSzPct val="80000"/>
        <a:buFont typeface="Wingdings" pitchFamily="2" charset="2"/>
        <a:buChar char="n"/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4pPr>
      <a:lvl5pPr marL="1619250" indent="-188913" algn="l" rtl="0" eaLnBrk="1" fontAlgn="base" hangingPunct="1">
        <a:spcBef>
          <a:spcPts val="500"/>
        </a:spcBef>
        <a:spcAft>
          <a:spcPts val="500"/>
        </a:spcAft>
        <a:buClr>
          <a:srgbClr val="969696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5pPr>
      <a:lvl6pPr marL="2076450" indent="-188913" algn="l" rtl="0" eaLnBrk="1" fontAlgn="base" hangingPunct="1">
        <a:spcBef>
          <a:spcPts val="300"/>
        </a:spcBef>
        <a:spcAft>
          <a:spcPts val="300"/>
        </a:spcAft>
        <a:buClr>
          <a:srgbClr val="999999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+mn-lt"/>
        </a:defRPr>
      </a:lvl6pPr>
      <a:lvl7pPr marL="2533650" indent="-188913" algn="l" rtl="0" eaLnBrk="1" fontAlgn="base" hangingPunct="1">
        <a:spcBef>
          <a:spcPts val="300"/>
        </a:spcBef>
        <a:spcAft>
          <a:spcPts val="300"/>
        </a:spcAft>
        <a:buClr>
          <a:srgbClr val="999999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+mn-lt"/>
        </a:defRPr>
      </a:lvl7pPr>
      <a:lvl8pPr marL="2990850" indent="-188913" algn="l" rtl="0" eaLnBrk="1" fontAlgn="base" hangingPunct="1">
        <a:spcBef>
          <a:spcPts val="300"/>
        </a:spcBef>
        <a:spcAft>
          <a:spcPts val="300"/>
        </a:spcAft>
        <a:buClr>
          <a:srgbClr val="999999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+mn-lt"/>
        </a:defRPr>
      </a:lvl8pPr>
      <a:lvl9pPr marL="3448050" indent="-188913" algn="l" rtl="0" eaLnBrk="1" fontAlgn="base" hangingPunct="1">
        <a:spcBef>
          <a:spcPts val="300"/>
        </a:spcBef>
        <a:spcAft>
          <a:spcPts val="300"/>
        </a:spcAft>
        <a:buClr>
          <a:srgbClr val="999999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277819" y="6332924"/>
            <a:ext cx="9364662" cy="45719"/>
          </a:xfrm>
          <a:prstGeom prst="rect">
            <a:avLst/>
          </a:prstGeom>
          <a:solidFill>
            <a:srgbClr val="617D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77819" y="177422"/>
            <a:ext cx="9364662" cy="668975"/>
          </a:xfrm>
          <a:prstGeom prst="rect">
            <a:avLst/>
          </a:prstGeom>
          <a:solidFill>
            <a:srgbClr val="617D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Rectangle 105"/>
          <p:cNvSpPr txBox="1">
            <a:spLocks/>
          </p:cNvSpPr>
          <p:nvPr/>
        </p:nvSpPr>
        <p:spPr>
          <a:xfrm>
            <a:off x="277819" y="993086"/>
            <a:ext cx="9346514" cy="5220256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>
            <a:outerShdw blurRad="63500" dist="12700" dir="5400000" algn="t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txBody>
          <a:bodyPr wrap="none" anchor="ctr">
            <a:noAutofit/>
          </a:bodyPr>
          <a:lstStyle>
            <a:defPPr>
              <a:defRPr lang="en-US"/>
            </a:defPPr>
            <a:lvl1pPr>
              <a:defRPr>
                <a:solidFill>
                  <a:srgbClr val="000000"/>
                </a:solidFill>
                <a:latin typeface="+mn-lt"/>
                <a:cs typeface="Arial" charset="0"/>
              </a:defRPr>
            </a:lvl1pPr>
          </a:lstStyle>
          <a:p>
            <a:pPr lvl="1"/>
            <a:endParaRPr lang="en-US" sz="1200" dirty="0">
              <a:solidFill>
                <a:prstClr val="black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5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8496" y="177420"/>
            <a:ext cx="683985" cy="67108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5159826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50" r:id="rId1"/>
    <p:sldLayoutId id="2147484651" r:id="rId2"/>
    <p:sldLayoutId id="2147484652" r:id="rId3"/>
    <p:sldLayoutId id="2147484653" r:id="rId4"/>
    <p:sldLayoutId id="2147484654" r:id="rId5"/>
    <p:sldLayoutId id="2147484655" r:id="rId6"/>
    <p:sldLayoutId id="2147484656" r:id="rId7"/>
    <p:sldLayoutId id="2147484657" r:id="rId8"/>
    <p:sldLayoutId id="2147484658" r:id="rId9"/>
    <p:sldLayoutId id="2147484659" r:id="rId10"/>
    <p:sldLayoutId id="2147484660" r:id="rId11"/>
    <p:sldLayoutId id="2147484661" r:id="rId12"/>
    <p:sldLayoutId id="2147484662" r:id="rId13"/>
    <p:sldLayoutId id="2147484663" r:id="rId14"/>
    <p:sldLayoutId id="2147484664" r:id="rId15"/>
    <p:sldLayoutId id="2147484665" r:id="rId16"/>
    <p:sldLayoutId id="2147484666" r:id="rId17"/>
    <p:sldLayoutId id="2147484667" r:id="rId18"/>
    <p:sldLayoutId id="2147484668" r:id="rId19"/>
    <p:sldLayoutId id="2147484669" r:id="rId20"/>
    <p:sldLayoutId id="2147484670" r:id="rId21"/>
    <p:sldLayoutId id="2147484671" r:id="rId22"/>
    <p:sldLayoutId id="2147484672" r:id="rId23"/>
    <p:sldLayoutId id="2147484673" r:id="rId24"/>
    <p:sldLayoutId id="2147484674" r:id="rId25"/>
    <p:sldLayoutId id="2147484675" r:id="rId26"/>
    <p:sldLayoutId id="2147484676" r:id="rId27"/>
    <p:sldLayoutId id="2147484677" r:id="rId28"/>
    <p:sldLayoutId id="2147484678" r:id="rId29"/>
    <p:sldLayoutId id="2147484679" r:id="rId30"/>
    <p:sldLayoutId id="2147484680" r:id="rId31"/>
    <p:sldLayoutId id="2147484681" r:id="rId32"/>
    <p:sldLayoutId id="2147484682" r:id="rId33"/>
    <p:sldLayoutId id="2147484683" r:id="rId34"/>
    <p:sldLayoutId id="2147484684" r:id="rId35"/>
    <p:sldLayoutId id="2147484685" r:id="rId36"/>
    <p:sldLayoutId id="2147484686" r:id="rId37"/>
    <p:sldLayoutId id="2147484687" r:id="rId38"/>
    <p:sldLayoutId id="2147484688" r:id="rId39"/>
    <p:sldLayoutId id="2147484690" r:id="rId40"/>
    <p:sldLayoutId id="2147484691" r:id="rId41"/>
    <p:sldLayoutId id="2147484692" r:id="rId42"/>
    <p:sldLayoutId id="2147484693" r:id="rId43"/>
    <p:sldLayoutId id="2147484694" r:id="rId44"/>
    <p:sldLayoutId id="2147484695" r:id="rId45"/>
    <p:sldLayoutId id="2147484696" r:id="rId46"/>
    <p:sldLayoutId id="2147484697" r:id="rId47"/>
    <p:sldLayoutId id="2147484698" r:id="rId48"/>
    <p:sldLayoutId id="2147484699" r:id="rId49"/>
    <p:sldLayoutId id="2147484700" r:id="rId50"/>
    <p:sldLayoutId id="2147484701" r:id="rId51"/>
    <p:sldLayoutId id="2147484702" r:id="rId52"/>
    <p:sldLayoutId id="2147484703" r:id="rId53"/>
    <p:sldLayoutId id="2147484704" r:id="rId54"/>
    <p:sldLayoutId id="2147484705" r:id="rId55"/>
    <p:sldLayoutId id="2147484706" r:id="rId56"/>
    <p:sldLayoutId id="2147484707" r:id="rId57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9pPr>
    </p:titleStyle>
    <p:bodyStyle>
      <a:lvl1pPr marL="179388" indent="-179388" algn="l" rtl="0" eaLnBrk="1" fontAlgn="base" hangingPunct="1">
        <a:spcBef>
          <a:spcPts val="500"/>
        </a:spcBef>
        <a:spcAft>
          <a:spcPts val="500"/>
        </a:spcAft>
        <a:buClr>
          <a:srgbClr val="969696"/>
        </a:buClr>
        <a:buSzPct val="80000"/>
        <a:buFont typeface="Wingdings" pitchFamily="2" charset="2"/>
        <a:buChar char="n"/>
        <a:defRPr sz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536575" indent="-177800" algn="l" rtl="0" eaLnBrk="1" fontAlgn="base" hangingPunct="1">
        <a:spcBef>
          <a:spcPts val="500"/>
        </a:spcBef>
        <a:spcAft>
          <a:spcPts val="500"/>
        </a:spcAft>
        <a:buClr>
          <a:srgbClr val="969696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2pPr>
      <a:lvl3pPr marL="893763" indent="-177800" algn="l" rtl="0" eaLnBrk="1" fontAlgn="base" hangingPunct="1">
        <a:spcBef>
          <a:spcPts val="500"/>
        </a:spcBef>
        <a:spcAft>
          <a:spcPts val="500"/>
        </a:spcAft>
        <a:buClr>
          <a:srgbClr val="969696"/>
        </a:buClr>
        <a:buSzPct val="80000"/>
        <a:buFont typeface="Arial" charset="0"/>
        <a:buChar char="►"/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3pPr>
      <a:lvl4pPr marL="1250950" indent="-177800" algn="l" rtl="0" eaLnBrk="1" fontAlgn="base" hangingPunct="1">
        <a:spcBef>
          <a:spcPts val="500"/>
        </a:spcBef>
        <a:spcAft>
          <a:spcPts val="500"/>
        </a:spcAft>
        <a:buClr>
          <a:srgbClr val="969696"/>
        </a:buClr>
        <a:buSzPct val="80000"/>
        <a:buFont typeface="Wingdings" pitchFamily="2" charset="2"/>
        <a:buChar char="n"/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4pPr>
      <a:lvl5pPr marL="1619250" indent="-188913" algn="l" rtl="0" eaLnBrk="1" fontAlgn="base" hangingPunct="1">
        <a:spcBef>
          <a:spcPts val="500"/>
        </a:spcBef>
        <a:spcAft>
          <a:spcPts val="500"/>
        </a:spcAft>
        <a:buClr>
          <a:srgbClr val="969696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5pPr>
      <a:lvl6pPr marL="2076450" indent="-188913" algn="l" rtl="0" eaLnBrk="1" fontAlgn="base" hangingPunct="1">
        <a:spcBef>
          <a:spcPts val="300"/>
        </a:spcBef>
        <a:spcAft>
          <a:spcPts val="300"/>
        </a:spcAft>
        <a:buClr>
          <a:srgbClr val="999999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+mn-lt"/>
        </a:defRPr>
      </a:lvl6pPr>
      <a:lvl7pPr marL="2533650" indent="-188913" algn="l" rtl="0" eaLnBrk="1" fontAlgn="base" hangingPunct="1">
        <a:spcBef>
          <a:spcPts val="300"/>
        </a:spcBef>
        <a:spcAft>
          <a:spcPts val="300"/>
        </a:spcAft>
        <a:buClr>
          <a:srgbClr val="999999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+mn-lt"/>
        </a:defRPr>
      </a:lvl7pPr>
      <a:lvl8pPr marL="2990850" indent="-188913" algn="l" rtl="0" eaLnBrk="1" fontAlgn="base" hangingPunct="1">
        <a:spcBef>
          <a:spcPts val="300"/>
        </a:spcBef>
        <a:spcAft>
          <a:spcPts val="300"/>
        </a:spcAft>
        <a:buClr>
          <a:srgbClr val="999999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+mn-lt"/>
        </a:defRPr>
      </a:lvl8pPr>
      <a:lvl9pPr marL="3448050" indent="-188913" algn="l" rtl="0" eaLnBrk="1" fontAlgn="base" hangingPunct="1">
        <a:spcBef>
          <a:spcPts val="300"/>
        </a:spcBef>
        <a:spcAft>
          <a:spcPts val="300"/>
        </a:spcAft>
        <a:buClr>
          <a:srgbClr val="999999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277819" y="6332924"/>
            <a:ext cx="9364662" cy="45719"/>
          </a:xfrm>
          <a:prstGeom prst="rect">
            <a:avLst/>
          </a:prstGeom>
          <a:solidFill>
            <a:srgbClr val="617D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77819" y="177422"/>
            <a:ext cx="9364662" cy="668975"/>
          </a:xfrm>
          <a:prstGeom prst="rect">
            <a:avLst/>
          </a:prstGeom>
          <a:solidFill>
            <a:srgbClr val="617D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Rectangle 105"/>
          <p:cNvSpPr txBox="1">
            <a:spLocks/>
          </p:cNvSpPr>
          <p:nvPr/>
        </p:nvSpPr>
        <p:spPr>
          <a:xfrm>
            <a:off x="277819" y="993086"/>
            <a:ext cx="9346514" cy="5220256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>
            <a:outerShdw blurRad="63500" dist="12700" dir="5400000" algn="t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txBody>
          <a:bodyPr wrap="none" anchor="ctr">
            <a:noAutofit/>
          </a:bodyPr>
          <a:lstStyle>
            <a:defPPr>
              <a:defRPr lang="en-US"/>
            </a:defPPr>
            <a:lvl1pPr>
              <a:defRPr>
                <a:solidFill>
                  <a:srgbClr val="000000"/>
                </a:solidFill>
                <a:latin typeface="+mn-lt"/>
                <a:cs typeface="Arial" charset="0"/>
              </a:defRPr>
            </a:lvl1pPr>
          </a:lstStyle>
          <a:p>
            <a:pPr lvl="1"/>
            <a:endParaRPr lang="en-US" sz="1200" dirty="0">
              <a:solidFill>
                <a:prstClr val="black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8496" y="177420"/>
            <a:ext cx="683985" cy="67108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075040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22" r:id="rId1"/>
    <p:sldLayoutId id="2147484723" r:id="rId2"/>
    <p:sldLayoutId id="2147484724" r:id="rId3"/>
    <p:sldLayoutId id="2147484725" r:id="rId4"/>
    <p:sldLayoutId id="2147484726" r:id="rId5"/>
    <p:sldLayoutId id="2147484727" r:id="rId6"/>
    <p:sldLayoutId id="2147484728" r:id="rId7"/>
    <p:sldLayoutId id="2147484729" r:id="rId8"/>
    <p:sldLayoutId id="2147484731" r:id="rId9"/>
    <p:sldLayoutId id="2147484732" r:id="rId10"/>
    <p:sldLayoutId id="2147484733" r:id="rId11"/>
    <p:sldLayoutId id="2147484734" r:id="rId12"/>
    <p:sldLayoutId id="2147484735" r:id="rId13"/>
    <p:sldLayoutId id="2147484736" r:id="rId14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9pPr>
    </p:titleStyle>
    <p:bodyStyle>
      <a:lvl1pPr marL="179388" indent="-179388" algn="l" rtl="0" eaLnBrk="1" fontAlgn="base" hangingPunct="1">
        <a:spcBef>
          <a:spcPts val="500"/>
        </a:spcBef>
        <a:spcAft>
          <a:spcPts val="500"/>
        </a:spcAft>
        <a:buClr>
          <a:srgbClr val="969696"/>
        </a:buClr>
        <a:buSzPct val="80000"/>
        <a:buFont typeface="Wingdings" pitchFamily="2" charset="2"/>
        <a:buChar char="n"/>
        <a:defRPr sz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536575" indent="-177800" algn="l" rtl="0" eaLnBrk="1" fontAlgn="base" hangingPunct="1">
        <a:spcBef>
          <a:spcPts val="500"/>
        </a:spcBef>
        <a:spcAft>
          <a:spcPts val="500"/>
        </a:spcAft>
        <a:buClr>
          <a:srgbClr val="969696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2pPr>
      <a:lvl3pPr marL="893763" indent="-177800" algn="l" rtl="0" eaLnBrk="1" fontAlgn="base" hangingPunct="1">
        <a:spcBef>
          <a:spcPts val="500"/>
        </a:spcBef>
        <a:spcAft>
          <a:spcPts val="500"/>
        </a:spcAft>
        <a:buClr>
          <a:srgbClr val="969696"/>
        </a:buClr>
        <a:buSzPct val="80000"/>
        <a:buFont typeface="Arial" charset="0"/>
        <a:buChar char="►"/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3pPr>
      <a:lvl4pPr marL="1250950" indent="-177800" algn="l" rtl="0" eaLnBrk="1" fontAlgn="base" hangingPunct="1">
        <a:spcBef>
          <a:spcPts val="500"/>
        </a:spcBef>
        <a:spcAft>
          <a:spcPts val="500"/>
        </a:spcAft>
        <a:buClr>
          <a:srgbClr val="969696"/>
        </a:buClr>
        <a:buSzPct val="80000"/>
        <a:buFont typeface="Wingdings" pitchFamily="2" charset="2"/>
        <a:buChar char="n"/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4pPr>
      <a:lvl5pPr marL="1619250" indent="-188913" algn="l" rtl="0" eaLnBrk="1" fontAlgn="base" hangingPunct="1">
        <a:spcBef>
          <a:spcPts val="500"/>
        </a:spcBef>
        <a:spcAft>
          <a:spcPts val="500"/>
        </a:spcAft>
        <a:buClr>
          <a:srgbClr val="969696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5pPr>
      <a:lvl6pPr marL="2076450" indent="-188913" algn="l" rtl="0" eaLnBrk="1" fontAlgn="base" hangingPunct="1">
        <a:spcBef>
          <a:spcPts val="300"/>
        </a:spcBef>
        <a:spcAft>
          <a:spcPts val="300"/>
        </a:spcAft>
        <a:buClr>
          <a:srgbClr val="999999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+mn-lt"/>
        </a:defRPr>
      </a:lvl6pPr>
      <a:lvl7pPr marL="2533650" indent="-188913" algn="l" rtl="0" eaLnBrk="1" fontAlgn="base" hangingPunct="1">
        <a:spcBef>
          <a:spcPts val="300"/>
        </a:spcBef>
        <a:spcAft>
          <a:spcPts val="300"/>
        </a:spcAft>
        <a:buClr>
          <a:srgbClr val="999999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+mn-lt"/>
        </a:defRPr>
      </a:lvl7pPr>
      <a:lvl8pPr marL="2990850" indent="-188913" algn="l" rtl="0" eaLnBrk="1" fontAlgn="base" hangingPunct="1">
        <a:spcBef>
          <a:spcPts val="300"/>
        </a:spcBef>
        <a:spcAft>
          <a:spcPts val="300"/>
        </a:spcAft>
        <a:buClr>
          <a:srgbClr val="999999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+mn-lt"/>
        </a:defRPr>
      </a:lvl8pPr>
      <a:lvl9pPr marL="3448050" indent="-188913" algn="l" rtl="0" eaLnBrk="1" fontAlgn="base" hangingPunct="1">
        <a:spcBef>
          <a:spcPts val="300"/>
        </a:spcBef>
        <a:spcAft>
          <a:spcPts val="300"/>
        </a:spcAft>
        <a:buClr>
          <a:srgbClr val="999999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277819" y="6332924"/>
            <a:ext cx="9364662" cy="45719"/>
          </a:xfrm>
          <a:prstGeom prst="rect">
            <a:avLst/>
          </a:prstGeom>
          <a:solidFill>
            <a:srgbClr val="617D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77819" y="177422"/>
            <a:ext cx="9364662" cy="668975"/>
          </a:xfrm>
          <a:prstGeom prst="rect">
            <a:avLst/>
          </a:prstGeom>
          <a:solidFill>
            <a:srgbClr val="617D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Rectangle 105"/>
          <p:cNvSpPr txBox="1">
            <a:spLocks/>
          </p:cNvSpPr>
          <p:nvPr/>
        </p:nvSpPr>
        <p:spPr>
          <a:xfrm>
            <a:off x="277819" y="993086"/>
            <a:ext cx="9346514" cy="5220256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>
            <a:outerShdw blurRad="63500" dist="12700" dir="5400000" algn="t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txBody>
          <a:bodyPr wrap="none" anchor="ctr">
            <a:noAutofit/>
          </a:bodyPr>
          <a:lstStyle>
            <a:defPPr>
              <a:defRPr lang="en-US"/>
            </a:defPPr>
            <a:lvl1pPr>
              <a:defRPr>
                <a:solidFill>
                  <a:srgbClr val="000000"/>
                </a:solidFill>
                <a:latin typeface="+mn-lt"/>
                <a:cs typeface="Arial" charset="0"/>
              </a:defRPr>
            </a:lvl1pPr>
          </a:lstStyle>
          <a:p>
            <a:pPr lvl="1"/>
            <a:endParaRPr lang="en-US" sz="1200" dirty="0">
              <a:solidFill>
                <a:prstClr val="black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8496" y="177420"/>
            <a:ext cx="683985" cy="67108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2704944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38" r:id="rId1"/>
    <p:sldLayoutId id="2147484739" r:id="rId2"/>
    <p:sldLayoutId id="2147484740" r:id="rId3"/>
    <p:sldLayoutId id="2147484741" r:id="rId4"/>
    <p:sldLayoutId id="2147484742" r:id="rId5"/>
    <p:sldLayoutId id="2147484743" r:id="rId6"/>
    <p:sldLayoutId id="2147484744" r:id="rId7"/>
    <p:sldLayoutId id="2147484745" r:id="rId8"/>
    <p:sldLayoutId id="2147484747" r:id="rId9"/>
    <p:sldLayoutId id="2147484748" r:id="rId10"/>
    <p:sldLayoutId id="2147484749" r:id="rId11"/>
    <p:sldLayoutId id="2147484750" r:id="rId12"/>
    <p:sldLayoutId id="2147484751" r:id="rId13"/>
    <p:sldLayoutId id="2147484752" r:id="rId14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9pPr>
    </p:titleStyle>
    <p:bodyStyle>
      <a:lvl1pPr marL="179388" indent="-179388" algn="l" rtl="0" eaLnBrk="1" fontAlgn="base" hangingPunct="1">
        <a:spcBef>
          <a:spcPts val="500"/>
        </a:spcBef>
        <a:spcAft>
          <a:spcPts val="500"/>
        </a:spcAft>
        <a:buClr>
          <a:srgbClr val="969696"/>
        </a:buClr>
        <a:buSzPct val="80000"/>
        <a:buFont typeface="Wingdings" pitchFamily="2" charset="2"/>
        <a:buChar char="n"/>
        <a:defRPr sz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536575" indent="-177800" algn="l" rtl="0" eaLnBrk="1" fontAlgn="base" hangingPunct="1">
        <a:spcBef>
          <a:spcPts val="500"/>
        </a:spcBef>
        <a:spcAft>
          <a:spcPts val="500"/>
        </a:spcAft>
        <a:buClr>
          <a:srgbClr val="969696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2pPr>
      <a:lvl3pPr marL="893763" indent="-177800" algn="l" rtl="0" eaLnBrk="1" fontAlgn="base" hangingPunct="1">
        <a:spcBef>
          <a:spcPts val="500"/>
        </a:spcBef>
        <a:spcAft>
          <a:spcPts val="500"/>
        </a:spcAft>
        <a:buClr>
          <a:srgbClr val="969696"/>
        </a:buClr>
        <a:buSzPct val="80000"/>
        <a:buFont typeface="Arial" charset="0"/>
        <a:buChar char="►"/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3pPr>
      <a:lvl4pPr marL="1250950" indent="-177800" algn="l" rtl="0" eaLnBrk="1" fontAlgn="base" hangingPunct="1">
        <a:spcBef>
          <a:spcPts val="500"/>
        </a:spcBef>
        <a:spcAft>
          <a:spcPts val="500"/>
        </a:spcAft>
        <a:buClr>
          <a:srgbClr val="969696"/>
        </a:buClr>
        <a:buSzPct val="80000"/>
        <a:buFont typeface="Wingdings" pitchFamily="2" charset="2"/>
        <a:buChar char="n"/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4pPr>
      <a:lvl5pPr marL="1619250" indent="-188913" algn="l" rtl="0" eaLnBrk="1" fontAlgn="base" hangingPunct="1">
        <a:spcBef>
          <a:spcPts val="500"/>
        </a:spcBef>
        <a:spcAft>
          <a:spcPts val="500"/>
        </a:spcAft>
        <a:buClr>
          <a:srgbClr val="969696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5pPr>
      <a:lvl6pPr marL="2076450" indent="-188913" algn="l" rtl="0" eaLnBrk="1" fontAlgn="base" hangingPunct="1">
        <a:spcBef>
          <a:spcPts val="300"/>
        </a:spcBef>
        <a:spcAft>
          <a:spcPts val="300"/>
        </a:spcAft>
        <a:buClr>
          <a:srgbClr val="999999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+mn-lt"/>
        </a:defRPr>
      </a:lvl6pPr>
      <a:lvl7pPr marL="2533650" indent="-188913" algn="l" rtl="0" eaLnBrk="1" fontAlgn="base" hangingPunct="1">
        <a:spcBef>
          <a:spcPts val="300"/>
        </a:spcBef>
        <a:spcAft>
          <a:spcPts val="300"/>
        </a:spcAft>
        <a:buClr>
          <a:srgbClr val="999999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+mn-lt"/>
        </a:defRPr>
      </a:lvl7pPr>
      <a:lvl8pPr marL="2990850" indent="-188913" algn="l" rtl="0" eaLnBrk="1" fontAlgn="base" hangingPunct="1">
        <a:spcBef>
          <a:spcPts val="300"/>
        </a:spcBef>
        <a:spcAft>
          <a:spcPts val="300"/>
        </a:spcAft>
        <a:buClr>
          <a:srgbClr val="999999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+mn-lt"/>
        </a:defRPr>
      </a:lvl8pPr>
      <a:lvl9pPr marL="3448050" indent="-188913" algn="l" rtl="0" eaLnBrk="1" fontAlgn="base" hangingPunct="1">
        <a:spcBef>
          <a:spcPts val="300"/>
        </a:spcBef>
        <a:spcAft>
          <a:spcPts val="300"/>
        </a:spcAft>
        <a:buClr>
          <a:srgbClr val="999999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277819" y="6332924"/>
            <a:ext cx="9364662" cy="45719"/>
          </a:xfrm>
          <a:prstGeom prst="rect">
            <a:avLst/>
          </a:prstGeom>
          <a:solidFill>
            <a:srgbClr val="617D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77819" y="177422"/>
            <a:ext cx="9364662" cy="668975"/>
          </a:xfrm>
          <a:prstGeom prst="rect">
            <a:avLst/>
          </a:prstGeom>
          <a:solidFill>
            <a:srgbClr val="617D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Rectangle 105"/>
          <p:cNvSpPr txBox="1">
            <a:spLocks/>
          </p:cNvSpPr>
          <p:nvPr/>
        </p:nvSpPr>
        <p:spPr>
          <a:xfrm>
            <a:off x="277819" y="993086"/>
            <a:ext cx="9346514" cy="5220256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>
            <a:outerShdw blurRad="63500" dist="12700" dir="5400000" algn="t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txBody>
          <a:bodyPr wrap="none" anchor="ctr">
            <a:noAutofit/>
          </a:bodyPr>
          <a:lstStyle>
            <a:defPPr>
              <a:defRPr lang="en-US"/>
            </a:defPPr>
            <a:lvl1pPr>
              <a:defRPr>
                <a:solidFill>
                  <a:srgbClr val="000000"/>
                </a:solidFill>
                <a:latin typeface="+mn-lt"/>
                <a:cs typeface="Arial" charset="0"/>
              </a:defRPr>
            </a:lvl1pPr>
          </a:lstStyle>
          <a:p>
            <a:pPr lvl="1"/>
            <a:endParaRPr lang="en-US" sz="1200" dirty="0">
              <a:solidFill>
                <a:prstClr val="black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8496" y="177420"/>
            <a:ext cx="683985" cy="67108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4899524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54" r:id="rId1"/>
    <p:sldLayoutId id="2147484755" r:id="rId2"/>
    <p:sldLayoutId id="2147484756" r:id="rId3"/>
    <p:sldLayoutId id="2147484757" r:id="rId4"/>
    <p:sldLayoutId id="2147484758" r:id="rId5"/>
    <p:sldLayoutId id="2147484759" r:id="rId6"/>
    <p:sldLayoutId id="2147484760" r:id="rId7"/>
    <p:sldLayoutId id="2147484762" r:id="rId8"/>
    <p:sldLayoutId id="2147484763" r:id="rId9"/>
    <p:sldLayoutId id="2147484765" r:id="rId10"/>
    <p:sldLayoutId id="2147484766" r:id="rId11"/>
    <p:sldLayoutId id="2147484767" r:id="rId12"/>
    <p:sldLayoutId id="2147484790" r:id="rId13"/>
    <p:sldLayoutId id="2147484792" r:id="rId14"/>
    <p:sldLayoutId id="2147484793" r:id="rId15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9pPr>
    </p:titleStyle>
    <p:bodyStyle>
      <a:lvl1pPr marL="179388" indent="-179388" algn="l" rtl="0" eaLnBrk="1" fontAlgn="base" hangingPunct="1">
        <a:spcBef>
          <a:spcPts val="500"/>
        </a:spcBef>
        <a:spcAft>
          <a:spcPts val="500"/>
        </a:spcAft>
        <a:buClr>
          <a:srgbClr val="969696"/>
        </a:buClr>
        <a:buSzPct val="80000"/>
        <a:buFont typeface="Wingdings" pitchFamily="2" charset="2"/>
        <a:buChar char="n"/>
        <a:defRPr sz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536575" indent="-177800" algn="l" rtl="0" eaLnBrk="1" fontAlgn="base" hangingPunct="1">
        <a:spcBef>
          <a:spcPts val="500"/>
        </a:spcBef>
        <a:spcAft>
          <a:spcPts val="500"/>
        </a:spcAft>
        <a:buClr>
          <a:srgbClr val="969696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2pPr>
      <a:lvl3pPr marL="893763" indent="-177800" algn="l" rtl="0" eaLnBrk="1" fontAlgn="base" hangingPunct="1">
        <a:spcBef>
          <a:spcPts val="500"/>
        </a:spcBef>
        <a:spcAft>
          <a:spcPts val="500"/>
        </a:spcAft>
        <a:buClr>
          <a:srgbClr val="969696"/>
        </a:buClr>
        <a:buSzPct val="80000"/>
        <a:buFont typeface="Arial" charset="0"/>
        <a:buChar char="►"/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3pPr>
      <a:lvl4pPr marL="1250950" indent="-177800" algn="l" rtl="0" eaLnBrk="1" fontAlgn="base" hangingPunct="1">
        <a:spcBef>
          <a:spcPts val="500"/>
        </a:spcBef>
        <a:spcAft>
          <a:spcPts val="500"/>
        </a:spcAft>
        <a:buClr>
          <a:srgbClr val="969696"/>
        </a:buClr>
        <a:buSzPct val="80000"/>
        <a:buFont typeface="Wingdings" pitchFamily="2" charset="2"/>
        <a:buChar char="n"/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4pPr>
      <a:lvl5pPr marL="1619250" indent="-188913" algn="l" rtl="0" eaLnBrk="1" fontAlgn="base" hangingPunct="1">
        <a:spcBef>
          <a:spcPts val="500"/>
        </a:spcBef>
        <a:spcAft>
          <a:spcPts val="500"/>
        </a:spcAft>
        <a:buClr>
          <a:srgbClr val="969696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5pPr>
      <a:lvl6pPr marL="2076450" indent="-188913" algn="l" rtl="0" eaLnBrk="1" fontAlgn="base" hangingPunct="1">
        <a:spcBef>
          <a:spcPts val="300"/>
        </a:spcBef>
        <a:spcAft>
          <a:spcPts val="300"/>
        </a:spcAft>
        <a:buClr>
          <a:srgbClr val="999999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+mn-lt"/>
        </a:defRPr>
      </a:lvl6pPr>
      <a:lvl7pPr marL="2533650" indent="-188913" algn="l" rtl="0" eaLnBrk="1" fontAlgn="base" hangingPunct="1">
        <a:spcBef>
          <a:spcPts val="300"/>
        </a:spcBef>
        <a:spcAft>
          <a:spcPts val="300"/>
        </a:spcAft>
        <a:buClr>
          <a:srgbClr val="999999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+mn-lt"/>
        </a:defRPr>
      </a:lvl7pPr>
      <a:lvl8pPr marL="2990850" indent="-188913" algn="l" rtl="0" eaLnBrk="1" fontAlgn="base" hangingPunct="1">
        <a:spcBef>
          <a:spcPts val="300"/>
        </a:spcBef>
        <a:spcAft>
          <a:spcPts val="300"/>
        </a:spcAft>
        <a:buClr>
          <a:srgbClr val="999999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+mn-lt"/>
        </a:defRPr>
      </a:lvl8pPr>
      <a:lvl9pPr marL="3448050" indent="-188913" algn="l" rtl="0" eaLnBrk="1" fontAlgn="base" hangingPunct="1">
        <a:spcBef>
          <a:spcPts val="300"/>
        </a:spcBef>
        <a:spcAft>
          <a:spcPts val="300"/>
        </a:spcAft>
        <a:buClr>
          <a:srgbClr val="999999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277819" y="6332924"/>
            <a:ext cx="9364662" cy="45719"/>
          </a:xfrm>
          <a:prstGeom prst="rect">
            <a:avLst/>
          </a:prstGeom>
          <a:solidFill>
            <a:srgbClr val="617D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77819" y="177422"/>
            <a:ext cx="9364662" cy="668975"/>
          </a:xfrm>
          <a:prstGeom prst="rect">
            <a:avLst/>
          </a:prstGeom>
          <a:solidFill>
            <a:srgbClr val="617D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Rectangle 105"/>
          <p:cNvSpPr txBox="1">
            <a:spLocks/>
          </p:cNvSpPr>
          <p:nvPr/>
        </p:nvSpPr>
        <p:spPr>
          <a:xfrm>
            <a:off x="277819" y="993086"/>
            <a:ext cx="9346514" cy="5220256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>
            <a:outerShdw blurRad="63500" dist="12700" dir="5400000" algn="t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txBody>
          <a:bodyPr wrap="none" anchor="ctr">
            <a:noAutofit/>
          </a:bodyPr>
          <a:lstStyle>
            <a:defPPr>
              <a:defRPr lang="en-US"/>
            </a:defPPr>
            <a:lvl1pPr>
              <a:defRPr>
                <a:solidFill>
                  <a:srgbClr val="000000"/>
                </a:solidFill>
                <a:latin typeface="+mn-lt"/>
                <a:cs typeface="Arial" charset="0"/>
              </a:defRPr>
            </a:lvl1pPr>
          </a:lstStyle>
          <a:p>
            <a:pPr lvl="1"/>
            <a:endParaRPr lang="en-US" sz="1200" dirty="0">
              <a:solidFill>
                <a:prstClr val="black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8496" y="177420"/>
            <a:ext cx="683985" cy="67108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0144367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70" r:id="rId1"/>
    <p:sldLayoutId id="2147484771" r:id="rId2"/>
    <p:sldLayoutId id="2147484772" r:id="rId3"/>
    <p:sldLayoutId id="2147484773" r:id="rId4"/>
    <p:sldLayoutId id="2147484774" r:id="rId5"/>
    <p:sldLayoutId id="2147484775" r:id="rId6"/>
    <p:sldLayoutId id="2147484776" r:id="rId7"/>
    <p:sldLayoutId id="2147484777" r:id="rId8"/>
    <p:sldLayoutId id="2147484778" r:id="rId9"/>
    <p:sldLayoutId id="2147484779" r:id="rId10"/>
    <p:sldLayoutId id="2147484780" r:id="rId11"/>
    <p:sldLayoutId id="2147484781" r:id="rId12"/>
    <p:sldLayoutId id="2147484782" r:id="rId13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9pPr>
    </p:titleStyle>
    <p:bodyStyle>
      <a:lvl1pPr marL="179388" indent="-179388" algn="l" rtl="0" eaLnBrk="1" fontAlgn="base" hangingPunct="1">
        <a:spcBef>
          <a:spcPts val="500"/>
        </a:spcBef>
        <a:spcAft>
          <a:spcPts val="500"/>
        </a:spcAft>
        <a:buClr>
          <a:srgbClr val="969696"/>
        </a:buClr>
        <a:buSzPct val="80000"/>
        <a:buFont typeface="Wingdings" pitchFamily="2" charset="2"/>
        <a:buChar char="n"/>
        <a:defRPr sz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536575" indent="-177800" algn="l" rtl="0" eaLnBrk="1" fontAlgn="base" hangingPunct="1">
        <a:spcBef>
          <a:spcPts val="500"/>
        </a:spcBef>
        <a:spcAft>
          <a:spcPts val="500"/>
        </a:spcAft>
        <a:buClr>
          <a:srgbClr val="969696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2pPr>
      <a:lvl3pPr marL="893763" indent="-177800" algn="l" rtl="0" eaLnBrk="1" fontAlgn="base" hangingPunct="1">
        <a:spcBef>
          <a:spcPts val="500"/>
        </a:spcBef>
        <a:spcAft>
          <a:spcPts val="500"/>
        </a:spcAft>
        <a:buClr>
          <a:srgbClr val="969696"/>
        </a:buClr>
        <a:buSzPct val="80000"/>
        <a:buFont typeface="Arial" charset="0"/>
        <a:buChar char="►"/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3pPr>
      <a:lvl4pPr marL="1250950" indent="-177800" algn="l" rtl="0" eaLnBrk="1" fontAlgn="base" hangingPunct="1">
        <a:spcBef>
          <a:spcPts val="500"/>
        </a:spcBef>
        <a:spcAft>
          <a:spcPts val="500"/>
        </a:spcAft>
        <a:buClr>
          <a:srgbClr val="969696"/>
        </a:buClr>
        <a:buSzPct val="80000"/>
        <a:buFont typeface="Wingdings" pitchFamily="2" charset="2"/>
        <a:buChar char="n"/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4pPr>
      <a:lvl5pPr marL="1619250" indent="-188913" algn="l" rtl="0" eaLnBrk="1" fontAlgn="base" hangingPunct="1">
        <a:spcBef>
          <a:spcPts val="500"/>
        </a:spcBef>
        <a:spcAft>
          <a:spcPts val="500"/>
        </a:spcAft>
        <a:buClr>
          <a:srgbClr val="969696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5pPr>
      <a:lvl6pPr marL="2076450" indent="-188913" algn="l" rtl="0" eaLnBrk="1" fontAlgn="base" hangingPunct="1">
        <a:spcBef>
          <a:spcPts val="300"/>
        </a:spcBef>
        <a:spcAft>
          <a:spcPts val="300"/>
        </a:spcAft>
        <a:buClr>
          <a:srgbClr val="999999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+mn-lt"/>
        </a:defRPr>
      </a:lvl6pPr>
      <a:lvl7pPr marL="2533650" indent="-188913" algn="l" rtl="0" eaLnBrk="1" fontAlgn="base" hangingPunct="1">
        <a:spcBef>
          <a:spcPts val="300"/>
        </a:spcBef>
        <a:spcAft>
          <a:spcPts val="300"/>
        </a:spcAft>
        <a:buClr>
          <a:srgbClr val="999999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+mn-lt"/>
        </a:defRPr>
      </a:lvl7pPr>
      <a:lvl8pPr marL="2990850" indent="-188913" algn="l" rtl="0" eaLnBrk="1" fontAlgn="base" hangingPunct="1">
        <a:spcBef>
          <a:spcPts val="300"/>
        </a:spcBef>
        <a:spcAft>
          <a:spcPts val="300"/>
        </a:spcAft>
        <a:buClr>
          <a:srgbClr val="999999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+mn-lt"/>
        </a:defRPr>
      </a:lvl8pPr>
      <a:lvl9pPr marL="3448050" indent="-188913" algn="l" rtl="0" eaLnBrk="1" fontAlgn="base" hangingPunct="1">
        <a:spcBef>
          <a:spcPts val="300"/>
        </a:spcBef>
        <a:spcAft>
          <a:spcPts val="300"/>
        </a:spcAft>
        <a:buClr>
          <a:srgbClr val="999999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277819" y="6332924"/>
            <a:ext cx="9364662" cy="45719"/>
          </a:xfrm>
          <a:prstGeom prst="rect">
            <a:avLst/>
          </a:prstGeom>
          <a:solidFill>
            <a:srgbClr val="617D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77819" y="177422"/>
            <a:ext cx="9364662" cy="668975"/>
          </a:xfrm>
          <a:prstGeom prst="rect">
            <a:avLst/>
          </a:prstGeom>
          <a:solidFill>
            <a:srgbClr val="617D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Rectangle 105"/>
          <p:cNvSpPr txBox="1">
            <a:spLocks/>
          </p:cNvSpPr>
          <p:nvPr/>
        </p:nvSpPr>
        <p:spPr>
          <a:xfrm>
            <a:off x="277819" y="993086"/>
            <a:ext cx="9346514" cy="5220256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>
            <a:outerShdw blurRad="63500" dist="12700" dir="5400000" algn="t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txBody>
          <a:bodyPr wrap="none" anchor="ctr">
            <a:noAutofit/>
          </a:bodyPr>
          <a:lstStyle>
            <a:defPPr>
              <a:defRPr lang="en-US"/>
            </a:defPPr>
            <a:lvl1pPr>
              <a:defRPr>
                <a:solidFill>
                  <a:srgbClr val="000000"/>
                </a:solidFill>
                <a:latin typeface="+mn-lt"/>
                <a:cs typeface="Arial" charset="0"/>
              </a:defRPr>
            </a:lvl1pPr>
          </a:lstStyle>
          <a:p>
            <a:pPr lvl="1"/>
            <a:endParaRPr lang="en-US" sz="1200" dirty="0">
              <a:solidFill>
                <a:prstClr val="black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8496" y="177420"/>
            <a:ext cx="683985" cy="67108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649194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85" r:id="rId1"/>
    <p:sldLayoutId id="2147484786" r:id="rId2"/>
    <p:sldLayoutId id="2147484787" r:id="rId3"/>
    <p:sldLayoutId id="2147484788" r:id="rId4"/>
    <p:sldLayoutId id="2147484789" r:id="rId5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2367A"/>
          </a:solidFill>
          <a:latin typeface="Arial" charset="0"/>
        </a:defRPr>
      </a:lvl9pPr>
    </p:titleStyle>
    <p:bodyStyle>
      <a:lvl1pPr marL="179388" indent="-179388" algn="l" rtl="0" eaLnBrk="1" fontAlgn="base" hangingPunct="1">
        <a:spcBef>
          <a:spcPts val="500"/>
        </a:spcBef>
        <a:spcAft>
          <a:spcPts val="500"/>
        </a:spcAft>
        <a:buClr>
          <a:srgbClr val="969696"/>
        </a:buClr>
        <a:buSzPct val="80000"/>
        <a:buFont typeface="Wingdings" pitchFamily="2" charset="2"/>
        <a:buChar char="n"/>
        <a:defRPr sz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536575" indent="-177800" algn="l" rtl="0" eaLnBrk="1" fontAlgn="base" hangingPunct="1">
        <a:spcBef>
          <a:spcPts val="500"/>
        </a:spcBef>
        <a:spcAft>
          <a:spcPts val="500"/>
        </a:spcAft>
        <a:buClr>
          <a:srgbClr val="969696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2pPr>
      <a:lvl3pPr marL="893763" indent="-177800" algn="l" rtl="0" eaLnBrk="1" fontAlgn="base" hangingPunct="1">
        <a:spcBef>
          <a:spcPts val="500"/>
        </a:spcBef>
        <a:spcAft>
          <a:spcPts val="500"/>
        </a:spcAft>
        <a:buClr>
          <a:srgbClr val="969696"/>
        </a:buClr>
        <a:buSzPct val="80000"/>
        <a:buFont typeface="Arial" charset="0"/>
        <a:buChar char="►"/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3pPr>
      <a:lvl4pPr marL="1250950" indent="-177800" algn="l" rtl="0" eaLnBrk="1" fontAlgn="base" hangingPunct="1">
        <a:spcBef>
          <a:spcPts val="500"/>
        </a:spcBef>
        <a:spcAft>
          <a:spcPts val="500"/>
        </a:spcAft>
        <a:buClr>
          <a:srgbClr val="969696"/>
        </a:buClr>
        <a:buSzPct val="80000"/>
        <a:buFont typeface="Wingdings" pitchFamily="2" charset="2"/>
        <a:buChar char="n"/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4pPr>
      <a:lvl5pPr marL="1619250" indent="-188913" algn="l" rtl="0" eaLnBrk="1" fontAlgn="base" hangingPunct="1">
        <a:spcBef>
          <a:spcPts val="500"/>
        </a:spcBef>
        <a:spcAft>
          <a:spcPts val="500"/>
        </a:spcAft>
        <a:buClr>
          <a:srgbClr val="969696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5pPr>
      <a:lvl6pPr marL="2076450" indent="-188913" algn="l" rtl="0" eaLnBrk="1" fontAlgn="base" hangingPunct="1">
        <a:spcBef>
          <a:spcPts val="300"/>
        </a:spcBef>
        <a:spcAft>
          <a:spcPts val="300"/>
        </a:spcAft>
        <a:buClr>
          <a:srgbClr val="999999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+mn-lt"/>
        </a:defRPr>
      </a:lvl6pPr>
      <a:lvl7pPr marL="2533650" indent="-188913" algn="l" rtl="0" eaLnBrk="1" fontAlgn="base" hangingPunct="1">
        <a:spcBef>
          <a:spcPts val="300"/>
        </a:spcBef>
        <a:spcAft>
          <a:spcPts val="300"/>
        </a:spcAft>
        <a:buClr>
          <a:srgbClr val="999999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+mn-lt"/>
        </a:defRPr>
      </a:lvl7pPr>
      <a:lvl8pPr marL="2990850" indent="-188913" algn="l" rtl="0" eaLnBrk="1" fontAlgn="base" hangingPunct="1">
        <a:spcBef>
          <a:spcPts val="300"/>
        </a:spcBef>
        <a:spcAft>
          <a:spcPts val="300"/>
        </a:spcAft>
        <a:buClr>
          <a:srgbClr val="999999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+mn-lt"/>
        </a:defRPr>
      </a:lvl8pPr>
      <a:lvl9pPr marL="3448050" indent="-188913" algn="l" rtl="0" eaLnBrk="1" fontAlgn="base" hangingPunct="1">
        <a:spcBef>
          <a:spcPts val="300"/>
        </a:spcBef>
        <a:spcAft>
          <a:spcPts val="300"/>
        </a:spcAft>
        <a:buClr>
          <a:srgbClr val="999999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12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1.xml"/><Relationship Id="rId7" Type="http://schemas.openxmlformats.org/officeDocument/2006/relationships/chart" Target="../charts/chart7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11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1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Layout" Target="../slideLayouts/slideLayout21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hyperlink" Target="mailto:osicinfodesk@nipc.gov.ng,infodesk@nipc.gov.ng" TargetMode="External"/><Relationship Id="rId1" Type="http://schemas.openxmlformats.org/officeDocument/2006/relationships/slideLayout" Target="../slideLayouts/slideLayout5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1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9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1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26" Type="http://schemas.openxmlformats.org/officeDocument/2006/relationships/image" Target="../media/image14.png"/><Relationship Id="rId39" Type="http://schemas.openxmlformats.org/officeDocument/2006/relationships/oleObject" Target="../embeddings/oleObject13.bin"/><Relationship Id="rId3" Type="http://schemas.openxmlformats.org/officeDocument/2006/relationships/tags" Target="../tags/tag4.xml"/><Relationship Id="rId21" Type="http://schemas.openxmlformats.org/officeDocument/2006/relationships/tags" Target="../tags/tag22.xml"/><Relationship Id="rId34" Type="http://schemas.openxmlformats.org/officeDocument/2006/relationships/image" Target="../media/image9.emf"/><Relationship Id="rId42" Type="http://schemas.openxmlformats.org/officeDocument/2006/relationships/image" Target="../media/image13.emf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5" Type="http://schemas.openxmlformats.org/officeDocument/2006/relationships/image" Target="../media/image8.emf"/><Relationship Id="rId33" Type="http://schemas.openxmlformats.org/officeDocument/2006/relationships/oleObject" Target="../embeddings/oleObject10.bin"/><Relationship Id="rId38" Type="http://schemas.openxmlformats.org/officeDocument/2006/relationships/image" Target="../media/image11.emf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tags" Target="../tags/tag21.xml"/><Relationship Id="rId29" Type="http://schemas.openxmlformats.org/officeDocument/2006/relationships/image" Target="../media/image17.png"/><Relationship Id="rId41" Type="http://schemas.openxmlformats.org/officeDocument/2006/relationships/oleObject" Target="../embeddings/oleObject14.bin"/><Relationship Id="rId1" Type="http://schemas.openxmlformats.org/officeDocument/2006/relationships/vmlDrawing" Target="../drawings/vmlDrawing9.v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24" Type="http://schemas.openxmlformats.org/officeDocument/2006/relationships/oleObject" Target="../embeddings/oleObject9.bin"/><Relationship Id="rId32" Type="http://schemas.openxmlformats.org/officeDocument/2006/relationships/image" Target="../media/image20.gif"/><Relationship Id="rId37" Type="http://schemas.openxmlformats.org/officeDocument/2006/relationships/oleObject" Target="../embeddings/oleObject12.bin"/><Relationship Id="rId40" Type="http://schemas.openxmlformats.org/officeDocument/2006/relationships/image" Target="../media/image12.emf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23" Type="http://schemas.openxmlformats.org/officeDocument/2006/relationships/slideLayout" Target="../slideLayouts/slideLayout225.xml"/><Relationship Id="rId28" Type="http://schemas.openxmlformats.org/officeDocument/2006/relationships/image" Target="../media/image16.png"/><Relationship Id="rId36" Type="http://schemas.openxmlformats.org/officeDocument/2006/relationships/image" Target="../media/image10.emf"/><Relationship Id="rId10" Type="http://schemas.openxmlformats.org/officeDocument/2006/relationships/tags" Target="../tags/tag11.xml"/><Relationship Id="rId19" Type="http://schemas.openxmlformats.org/officeDocument/2006/relationships/tags" Target="../tags/tag20.xml"/><Relationship Id="rId31" Type="http://schemas.openxmlformats.org/officeDocument/2006/relationships/image" Target="../media/image19.png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tags" Target="../tags/tag23.xml"/><Relationship Id="rId27" Type="http://schemas.openxmlformats.org/officeDocument/2006/relationships/image" Target="../media/image15.png"/><Relationship Id="rId30" Type="http://schemas.openxmlformats.org/officeDocument/2006/relationships/image" Target="../media/image18.png"/><Relationship Id="rId35" Type="http://schemas.openxmlformats.org/officeDocument/2006/relationships/oleObject" Target="../embeddings/oleObject11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25.xml"/><Relationship Id="rId7" Type="http://schemas.openxmlformats.org/officeDocument/2006/relationships/chart" Target="../charts/chart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22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6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11.xml"/><Relationship Id="rId4" Type="http://schemas.openxmlformats.org/officeDocument/2006/relationships/chart" Target="../charts/char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extLst/>
          </p:nvPr>
        </p:nvGraphicFramePr>
        <p:xfrm>
          <a:off x="1739" y="1592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8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39" y="1592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05045" y="1147037"/>
            <a:ext cx="7750166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r>
              <a:rPr lang="en-GB" sz="2400" b="1" dirty="0" smtClean="0">
                <a:solidFill>
                  <a:srgbClr val="617D32"/>
                </a:solidFill>
                <a:ea typeface="ＭＳ Ｐゴシック" pitchFamily="34" charset="-128"/>
              </a:rPr>
              <a:t>UPDATES ON THE ACTIVITIES OF NIPC</a:t>
            </a:r>
            <a:endParaRPr lang="en-GB" sz="2400" b="1" noProof="0" dirty="0">
              <a:solidFill>
                <a:srgbClr val="617D32"/>
              </a:solidFill>
            </a:endParaRPr>
          </a:p>
        </p:txBody>
      </p:sp>
      <p:sp>
        <p:nvSpPr>
          <p:cNvPr id="5" name="McK Document type"/>
          <p:cNvSpPr txBox="1">
            <a:spLocks noChangeArrowheads="1"/>
          </p:cNvSpPr>
          <p:nvPr/>
        </p:nvSpPr>
        <p:spPr bwMode="auto">
          <a:xfrm>
            <a:off x="645577" y="3248167"/>
            <a:ext cx="7526878" cy="25853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eaLnBrk="1" hangingPunct="1">
              <a:defRPr sz="1400" cap="all" baseline="0">
                <a:solidFill>
                  <a:schemeClr val="bg1"/>
                </a:solidFill>
                <a:latin typeface="+mn-lt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endParaRPr lang="en-GB" dirty="0" smtClean="0">
              <a:solidFill>
                <a:srgbClr val="FFFFFF"/>
              </a:solidFill>
            </a:endParaRPr>
          </a:p>
          <a:p>
            <a:r>
              <a:rPr lang="en-GB" dirty="0" smtClean="0">
                <a:solidFill>
                  <a:srgbClr val="FFFFFF"/>
                </a:solidFill>
              </a:rPr>
              <a:t>YEWANDE SADIKU</a:t>
            </a:r>
          </a:p>
          <a:p>
            <a:r>
              <a:rPr lang="en-GB" dirty="0" smtClean="0">
                <a:solidFill>
                  <a:srgbClr val="FFFFFF"/>
                </a:solidFill>
              </a:rPr>
              <a:t>EXECUTIVE SECRETARY/CEO</a:t>
            </a:r>
            <a:endParaRPr lang="en-GB" dirty="0">
              <a:solidFill>
                <a:srgbClr val="FFFFFF"/>
              </a:solidFill>
            </a:endParaRPr>
          </a:p>
          <a:p>
            <a:r>
              <a:rPr lang="en-GB" dirty="0" smtClean="0">
                <a:solidFill>
                  <a:srgbClr val="FFFFFF"/>
                </a:solidFill>
              </a:rPr>
              <a:t>NiGERIAN Investment Promotion commission (NIPC)</a:t>
            </a:r>
          </a:p>
          <a:p>
            <a:endParaRPr lang="en-GB" dirty="0">
              <a:solidFill>
                <a:srgbClr val="FFFFFF"/>
              </a:solidFill>
            </a:endParaRPr>
          </a:p>
          <a:p>
            <a:endParaRPr lang="en-GB" dirty="0" smtClean="0">
              <a:solidFill>
                <a:srgbClr val="FFFFFF"/>
              </a:solidFill>
            </a:endParaRPr>
          </a:p>
          <a:p>
            <a:endParaRPr lang="en-GB" dirty="0">
              <a:solidFill>
                <a:srgbClr val="FFFFFF"/>
              </a:solidFill>
            </a:endParaRPr>
          </a:p>
          <a:p>
            <a:endParaRPr lang="en-GB" dirty="0" smtClean="0">
              <a:solidFill>
                <a:srgbClr val="FFFFFF"/>
              </a:solidFill>
            </a:endParaRPr>
          </a:p>
          <a:p>
            <a:endParaRPr lang="en-GB" dirty="0">
              <a:solidFill>
                <a:srgbClr val="FFFFFF"/>
              </a:solidFill>
            </a:endParaRPr>
          </a:p>
          <a:p>
            <a:endParaRPr lang="en-GB" dirty="0" smtClean="0">
              <a:solidFill>
                <a:srgbClr val="FFFFFF"/>
              </a:solidFill>
            </a:endParaRPr>
          </a:p>
          <a:p>
            <a:endParaRPr lang="en-GB" dirty="0" smtClean="0">
              <a:solidFill>
                <a:srgbClr val="FFFFFF"/>
              </a:solidFill>
            </a:endParaRPr>
          </a:p>
          <a:p>
            <a:r>
              <a:rPr lang="en-GB" dirty="0" err="1" smtClean="0">
                <a:solidFill>
                  <a:srgbClr val="FFFFFF"/>
                </a:solidFill>
              </a:rPr>
              <a:t>abuja</a:t>
            </a:r>
            <a:r>
              <a:rPr lang="en-GB" dirty="0" smtClean="0">
                <a:solidFill>
                  <a:srgbClr val="FFFFFF"/>
                </a:solidFill>
              </a:rPr>
              <a:t> | 09 MAY 2017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6" name="Rectangle 30"/>
          <p:cNvSpPr>
            <a:spLocks noChangeArrowheads="1"/>
          </p:cNvSpPr>
          <p:nvPr/>
        </p:nvSpPr>
        <p:spPr bwMode="gray">
          <a:xfrm>
            <a:off x="645577" y="6173266"/>
            <a:ext cx="3634551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spcAft>
                <a:spcPts val="300"/>
              </a:spcAft>
              <a:buSzPct val="100000"/>
            </a:pPr>
            <a:r>
              <a:rPr lang="en-US" sz="900" dirty="0" smtClean="0">
                <a:solidFill>
                  <a:srgbClr val="FFFFFF"/>
                </a:solidFill>
              </a:rPr>
              <a:t>Private </a:t>
            </a:r>
            <a:r>
              <a:rPr lang="en-US" sz="900" dirty="0">
                <a:solidFill>
                  <a:srgbClr val="FFFFFF"/>
                </a:solidFill>
              </a:rPr>
              <a:t>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25592900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>
          <a:xfrm>
            <a:off x="2630978" y="1185480"/>
            <a:ext cx="4364181" cy="307859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75000"/>
                  <a:shade val="30000"/>
                  <a:satMod val="115000"/>
                </a:schemeClr>
              </a:gs>
              <a:gs pos="50000">
                <a:schemeClr val="accent2">
                  <a:lumMod val="75000"/>
                  <a:shade val="67500"/>
                  <a:satMod val="115000"/>
                </a:schemeClr>
              </a:gs>
              <a:gs pos="100000">
                <a:schemeClr val="accent2">
                  <a:lumMod val="7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p 5 FDI  destinations in Africa, 2011 </a:t>
            </a:r>
            <a:r>
              <a:rPr lang="mr-IN" sz="1200" b="1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</a:t>
            </a:r>
            <a:r>
              <a:rPr lang="en-US" sz="1200" b="1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2015 (US$,</a:t>
            </a:r>
            <a:r>
              <a:rPr lang="en-US" sz="1200" b="1" dirty="0" err="1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n</a:t>
            </a:r>
            <a:r>
              <a:rPr lang="en-US" sz="1200" b="1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endParaRPr lang="en-US" sz="12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59770" y="6421580"/>
            <a:ext cx="226696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700" dirty="0" smtClean="0"/>
              <a:t>Sources: World Investment Report 2016</a:t>
            </a:r>
            <a:r>
              <a:rPr lang="en-GB" sz="700" dirty="0"/>
              <a:t> </a:t>
            </a:r>
            <a:r>
              <a:rPr lang="en-GB" sz="700" dirty="0" smtClean="0"/>
              <a:t>(UNCTAD) </a:t>
            </a:r>
            <a:endParaRPr lang="en-GB" sz="700" dirty="0"/>
          </a:p>
        </p:txBody>
      </p:sp>
      <p:graphicFrame>
        <p:nvGraphicFramePr>
          <p:cNvPr id="17" name="Chart 16"/>
          <p:cNvGraphicFramePr>
            <a:graphicFrameLocks/>
          </p:cNvGraphicFramePr>
          <p:nvPr>
            <p:extLst/>
          </p:nvPr>
        </p:nvGraphicFramePr>
        <p:xfrm>
          <a:off x="862149" y="1890457"/>
          <a:ext cx="8268788" cy="40270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3" name="Straight Arrow Connector 92"/>
          <p:cNvSpPr/>
          <p:nvPr/>
        </p:nvSpPr>
        <p:spPr>
          <a:xfrm>
            <a:off x="3069869" y="4678283"/>
            <a:ext cx="1071154" cy="13063"/>
          </a:xfrm>
          <a:prstGeom prst="straightConnector1">
            <a:avLst/>
          </a:prstGeom>
          <a:ln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/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94" name="Straight Arrow Connector 93"/>
          <p:cNvSpPr/>
          <p:nvPr/>
        </p:nvSpPr>
        <p:spPr>
          <a:xfrm>
            <a:off x="4700451" y="4678283"/>
            <a:ext cx="1071154" cy="13063"/>
          </a:xfrm>
          <a:prstGeom prst="straightConnector1">
            <a:avLst/>
          </a:prstGeom>
          <a:ln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/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95" name="Straight Arrow Connector 94"/>
          <p:cNvSpPr/>
          <p:nvPr/>
        </p:nvSpPr>
        <p:spPr>
          <a:xfrm>
            <a:off x="6202679" y="4678283"/>
            <a:ext cx="1071154" cy="13063"/>
          </a:xfrm>
          <a:prstGeom prst="straightConnector1">
            <a:avLst/>
          </a:prstGeom>
          <a:ln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/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10" name="Straight Arrow Connector 9"/>
          <p:cNvSpPr/>
          <p:nvPr/>
        </p:nvSpPr>
        <p:spPr>
          <a:xfrm>
            <a:off x="7783088" y="4678283"/>
            <a:ext cx="1071154" cy="13063"/>
          </a:xfrm>
          <a:prstGeom prst="straightConnector1">
            <a:avLst/>
          </a:prstGeom>
          <a:ln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/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Top recipients of FDI in Afric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74343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82590" y="17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87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82590" y="17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5. Source"/>
          <p:cNvSpPr>
            <a:spLocks noChangeArrowheads="1"/>
          </p:cNvSpPr>
          <p:nvPr/>
        </p:nvSpPr>
        <p:spPr bwMode="auto">
          <a:xfrm>
            <a:off x="410811" y="6410326"/>
            <a:ext cx="7696868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28031" indent="-528031" defTabSz="913526">
              <a:tabLst>
                <a:tab pos="625214" algn="l"/>
              </a:tabLst>
            </a:pPr>
            <a:r>
              <a:rPr lang="en-GB" sz="800" dirty="0">
                <a:solidFill>
                  <a:srgbClr val="808080"/>
                </a:solidFill>
                <a:latin typeface="+mn-lt"/>
              </a:rPr>
              <a:t>SOURCE: World Bank Doing Business 2017</a:t>
            </a:r>
          </a:p>
        </p:txBody>
      </p:sp>
      <p:sp>
        <p:nvSpPr>
          <p:cNvPr id="32" name="Line 2"/>
          <p:cNvSpPr>
            <a:spLocks noChangeShapeType="1"/>
          </p:cNvSpPr>
          <p:nvPr/>
        </p:nvSpPr>
        <p:spPr bwMode="auto">
          <a:xfrm flipH="1" flipV="1">
            <a:off x="5128090" y="1302712"/>
            <a:ext cx="50" cy="4155545"/>
          </a:xfrm>
          <a:prstGeom prst="line">
            <a:avLst/>
          </a:prstGeom>
          <a:noFill/>
          <a:ln w="9525">
            <a:solidFill>
              <a:schemeClr val="hlink"/>
            </a:solidFill>
            <a:prstDash val="lgDash"/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 sz="800" dirty="0"/>
          </a:p>
        </p:txBody>
      </p:sp>
      <p:sp>
        <p:nvSpPr>
          <p:cNvPr id="39" name="Line 28"/>
          <p:cNvSpPr>
            <a:spLocks noChangeShapeType="1"/>
          </p:cNvSpPr>
          <p:nvPr/>
        </p:nvSpPr>
        <p:spPr bwMode="auto">
          <a:xfrm flipH="1">
            <a:off x="1617470" y="3472378"/>
            <a:ext cx="7035912" cy="2532"/>
          </a:xfrm>
          <a:prstGeom prst="line">
            <a:avLst/>
          </a:prstGeom>
          <a:noFill/>
          <a:ln w="9525">
            <a:solidFill>
              <a:schemeClr val="hlink"/>
            </a:solidFill>
            <a:prstDash val="lgDash"/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 sz="800" dirty="0"/>
          </a:p>
        </p:txBody>
      </p:sp>
      <p:graphicFrame>
        <p:nvGraphicFramePr>
          <p:cNvPr id="41" name="Objec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05033947"/>
              </p:ext>
            </p:extLst>
          </p:nvPr>
        </p:nvGraphicFramePr>
        <p:xfrm>
          <a:off x="1059654" y="1447929"/>
          <a:ext cx="7739384" cy="45050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2" name="Rectangle 7"/>
          <p:cNvSpPr>
            <a:spLocks noChangeArrowheads="1"/>
          </p:cNvSpPr>
          <p:nvPr/>
        </p:nvSpPr>
        <p:spPr bwMode="auto">
          <a:xfrm>
            <a:off x="8107680" y="1851922"/>
            <a:ext cx="992807" cy="63781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71995" tIns="71995" rIns="71995" bIns="71995">
            <a:spAutoFit/>
          </a:bodyPr>
          <a:lstStyle/>
          <a:p>
            <a:pPr defTabSz="357150"/>
            <a:r>
              <a:rPr lang="en-US" sz="800" b="1" i="1" dirty="0"/>
              <a:t>Note: Size of bubble reflects relative GDP of each country</a:t>
            </a:r>
            <a:endParaRPr lang="en-ZA" sz="800" b="1" i="1" dirty="0"/>
          </a:p>
        </p:txBody>
      </p:sp>
      <p:grpSp>
        <p:nvGrpSpPr>
          <p:cNvPr id="43" name="Group 42"/>
          <p:cNvGrpSpPr/>
          <p:nvPr/>
        </p:nvGrpSpPr>
        <p:grpSpPr>
          <a:xfrm>
            <a:off x="8353330" y="1119902"/>
            <a:ext cx="728832" cy="118865"/>
            <a:chOff x="7533315" y="1470184"/>
            <a:chExt cx="728832" cy="118872"/>
          </a:xfrm>
        </p:grpSpPr>
        <p:sp>
          <p:nvSpPr>
            <p:cNvPr id="44" name="Oval 8"/>
            <p:cNvSpPr>
              <a:spLocks noChangeArrowheads="1"/>
            </p:cNvSpPr>
            <p:nvPr/>
          </p:nvSpPr>
          <p:spPr bwMode="auto">
            <a:xfrm>
              <a:off x="7533315" y="1470184"/>
              <a:ext cx="122545" cy="118872"/>
            </a:xfrm>
            <a:prstGeom prst="ellipse">
              <a:avLst/>
            </a:prstGeom>
            <a:solidFill>
              <a:schemeClr val="tx2">
                <a:lumMod val="40000"/>
                <a:lumOff val="60000"/>
              </a:schemeClr>
            </a:solidFill>
            <a:ln w="9525" algn="ctr">
              <a:noFill/>
              <a:round/>
              <a:headEnd/>
              <a:tailEnd/>
            </a:ln>
          </p:spPr>
          <p:txBody>
            <a:bodyPr wrap="none" anchor="ctr">
              <a:noAutofit/>
            </a:bodyPr>
            <a:lstStyle/>
            <a:p>
              <a:endParaRPr lang="en-US" sz="800" dirty="0"/>
            </a:p>
          </p:txBody>
        </p:sp>
        <p:sp>
          <p:nvSpPr>
            <p:cNvPr id="45" name="Text Box 11"/>
            <p:cNvSpPr txBox="1">
              <a:spLocks noChangeArrowheads="1"/>
            </p:cNvSpPr>
            <p:nvPr/>
          </p:nvSpPr>
          <p:spPr bwMode="auto">
            <a:xfrm>
              <a:off x="7729950" y="1483454"/>
              <a:ext cx="532197" cy="9233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600" dirty="0"/>
                <a:t>Southern Africa</a:t>
              </a: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8352008" y="1333138"/>
            <a:ext cx="569855" cy="118865"/>
            <a:chOff x="7531992" y="1683433"/>
            <a:chExt cx="569855" cy="118872"/>
          </a:xfrm>
        </p:grpSpPr>
        <p:sp>
          <p:nvSpPr>
            <p:cNvPr id="47" name="Oval 9"/>
            <p:cNvSpPr>
              <a:spLocks noChangeArrowheads="1"/>
            </p:cNvSpPr>
            <p:nvPr/>
          </p:nvSpPr>
          <p:spPr bwMode="auto">
            <a:xfrm>
              <a:off x="7531992" y="1683433"/>
              <a:ext cx="122545" cy="118872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 w="9525" algn="ctr">
              <a:noFill/>
              <a:round/>
              <a:headEnd/>
              <a:tailEnd/>
            </a:ln>
          </p:spPr>
          <p:txBody>
            <a:bodyPr wrap="none" anchor="ctr">
              <a:noAutofit/>
            </a:bodyPr>
            <a:lstStyle/>
            <a:p>
              <a:endParaRPr lang="en-US" sz="800" dirty="0"/>
            </a:p>
          </p:txBody>
        </p:sp>
        <p:sp>
          <p:nvSpPr>
            <p:cNvPr id="48" name="Text Box 12"/>
            <p:cNvSpPr txBox="1">
              <a:spLocks noChangeArrowheads="1"/>
            </p:cNvSpPr>
            <p:nvPr/>
          </p:nvSpPr>
          <p:spPr bwMode="auto">
            <a:xfrm>
              <a:off x="7729950" y="1696703"/>
              <a:ext cx="371897" cy="9233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600" dirty="0"/>
                <a:t>East Africa</a:t>
              </a:r>
            </a:p>
          </p:txBody>
        </p:sp>
      </p:grpSp>
      <p:grpSp>
        <p:nvGrpSpPr>
          <p:cNvPr id="49" name="Group 48"/>
          <p:cNvGrpSpPr/>
          <p:nvPr/>
        </p:nvGrpSpPr>
        <p:grpSpPr>
          <a:xfrm>
            <a:off x="8352007" y="1546375"/>
            <a:ext cx="590694" cy="118865"/>
            <a:chOff x="7531992" y="1896682"/>
            <a:chExt cx="590694" cy="118872"/>
          </a:xfrm>
        </p:grpSpPr>
        <p:sp>
          <p:nvSpPr>
            <p:cNvPr id="50" name="Oval 10"/>
            <p:cNvSpPr>
              <a:spLocks noChangeArrowheads="1"/>
            </p:cNvSpPr>
            <p:nvPr/>
          </p:nvSpPr>
          <p:spPr bwMode="auto">
            <a:xfrm>
              <a:off x="7531992" y="1896682"/>
              <a:ext cx="122545" cy="118872"/>
            </a:xfrm>
            <a:prstGeom prst="ellipse">
              <a:avLst/>
            </a:prstGeom>
            <a:solidFill>
              <a:srgbClr val="84C225"/>
            </a:soli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800" dirty="0"/>
            </a:p>
          </p:txBody>
        </p:sp>
        <p:sp>
          <p:nvSpPr>
            <p:cNvPr id="51" name="Text Box 13"/>
            <p:cNvSpPr txBox="1">
              <a:spLocks noChangeArrowheads="1"/>
            </p:cNvSpPr>
            <p:nvPr/>
          </p:nvSpPr>
          <p:spPr bwMode="auto">
            <a:xfrm>
              <a:off x="7729950" y="1909952"/>
              <a:ext cx="392736" cy="9233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600" dirty="0"/>
                <a:t>West Africa</a:t>
              </a:r>
            </a:p>
          </p:txBody>
        </p:sp>
      </p:grpSp>
      <p:sp>
        <p:nvSpPr>
          <p:cNvPr id="52" name="Text Box 24"/>
          <p:cNvSpPr txBox="1">
            <a:spLocks noChangeArrowheads="1"/>
          </p:cNvSpPr>
          <p:nvPr/>
        </p:nvSpPr>
        <p:spPr bwMode="auto">
          <a:xfrm>
            <a:off x="784246" y="1088921"/>
            <a:ext cx="1497249" cy="2462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l">
              <a:spcBef>
                <a:spcPct val="50000"/>
              </a:spcBef>
            </a:pPr>
            <a:r>
              <a:rPr lang="en-ZA" sz="800" dirty="0">
                <a:latin typeface="Calibri" panose="020F0502020204030204" pitchFamily="34" charset="0"/>
                <a:cs typeface="Calibri" panose="020F0502020204030204" pitchFamily="34" charset="0"/>
              </a:rPr>
              <a:t>Increasingly friendly business environment</a:t>
            </a:r>
            <a:endParaRPr lang="en-US" sz="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3" name="Text Box 27"/>
          <p:cNvSpPr txBox="1">
            <a:spLocks noChangeArrowheads="1"/>
          </p:cNvSpPr>
          <p:nvPr/>
        </p:nvSpPr>
        <p:spPr bwMode="auto">
          <a:xfrm>
            <a:off x="7289624" y="5949205"/>
            <a:ext cx="1497250" cy="2154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3296" tIns="46648" rIns="93296" bIns="46648">
            <a:spAutoFit/>
          </a:bodyPr>
          <a:lstStyle/>
          <a:p>
            <a:pPr algn="r">
              <a:spcBef>
                <a:spcPct val="50000"/>
              </a:spcBef>
            </a:pPr>
            <a:r>
              <a:rPr lang="en-ZA" sz="800" dirty="0">
                <a:latin typeface="Calibri" panose="020F0502020204030204" pitchFamily="34" charset="0"/>
                <a:cs typeface="Calibri" panose="020F0502020204030204" pitchFamily="34" charset="0"/>
              </a:rPr>
              <a:t>Increasing population</a:t>
            </a:r>
            <a:endParaRPr lang="en-US" sz="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4" name="Text Box 14"/>
          <p:cNvSpPr txBox="1">
            <a:spLocks noChangeArrowheads="1"/>
          </p:cNvSpPr>
          <p:nvPr/>
        </p:nvSpPr>
        <p:spPr bwMode="auto">
          <a:xfrm>
            <a:off x="4372997" y="1174045"/>
            <a:ext cx="3406124" cy="132336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lIns="93296" tIns="46648" rIns="93296" bIns="46648">
            <a:spAutoFit/>
          </a:bodyPr>
          <a:lstStyle/>
          <a:p>
            <a:pPr marL="85716" indent="-85716"/>
            <a:r>
              <a:rPr lang="en-US" sz="800" b="1" dirty="0">
                <a:solidFill>
                  <a:schemeClr val="accent4"/>
                </a:solidFill>
              </a:rPr>
              <a:t>Within Southern Africa:</a:t>
            </a:r>
          </a:p>
          <a:p>
            <a:pPr marL="88900" indent="-88900">
              <a:buFont typeface="Wingdings" panose="05000000000000000000" pitchFamily="2" charset="2"/>
              <a:buChar char="§"/>
            </a:pPr>
            <a:r>
              <a:rPr lang="en-US" sz="800" dirty="0"/>
              <a:t>South Africa ranks high in terms of “ease-to-do-business”, making the country a logical entry point for investment in Africa</a:t>
            </a:r>
          </a:p>
          <a:p>
            <a:pPr marL="88900" indent="-88900">
              <a:buFont typeface="Wingdings" panose="05000000000000000000" pitchFamily="2" charset="2"/>
              <a:buChar char="§"/>
            </a:pPr>
            <a:r>
              <a:rPr lang="en-US" sz="800" dirty="0"/>
              <a:t>Second largest GDP on African continent, and 5</a:t>
            </a:r>
            <a:r>
              <a:rPr lang="en-US" sz="800" baseline="30000" dirty="0"/>
              <a:t>th</a:t>
            </a:r>
            <a:r>
              <a:rPr lang="en-US" sz="800" dirty="0"/>
              <a:t> largest population (55 million)</a:t>
            </a:r>
          </a:p>
          <a:p>
            <a:pPr marL="88900" indent="-88900">
              <a:buFont typeface="Wingdings" panose="05000000000000000000" pitchFamily="2" charset="2"/>
              <a:buChar char="§"/>
            </a:pPr>
            <a:r>
              <a:rPr lang="en-US" sz="800" dirty="0"/>
              <a:t>Emerging black middle class with increasing purchasing power</a:t>
            </a:r>
          </a:p>
          <a:p>
            <a:pPr marL="88900" indent="-88900">
              <a:buFont typeface="Wingdings" panose="05000000000000000000" pitchFamily="2" charset="2"/>
              <a:buChar char="§"/>
            </a:pPr>
            <a:r>
              <a:rPr lang="en-US" sz="800" dirty="0"/>
              <a:t>Perceived favorably from a risk-return perspective by international investors in search for emerging market yield</a:t>
            </a:r>
          </a:p>
          <a:p>
            <a:r>
              <a:rPr lang="en-US" sz="800" dirty="0"/>
              <a:t>South Africa typically offers itself as the “doorstep-to-Africa” to new investors to the continent</a:t>
            </a:r>
          </a:p>
        </p:txBody>
      </p:sp>
      <p:sp>
        <p:nvSpPr>
          <p:cNvPr id="55" name="Text Box 15"/>
          <p:cNvSpPr txBox="1">
            <a:spLocks noChangeArrowheads="1"/>
          </p:cNvSpPr>
          <p:nvPr/>
        </p:nvSpPr>
        <p:spPr bwMode="auto">
          <a:xfrm>
            <a:off x="5152706" y="3610969"/>
            <a:ext cx="2350684" cy="132336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wrap="square" lIns="93296" tIns="46648" rIns="93296" bIns="46648">
            <a:spAutoFit/>
          </a:bodyPr>
          <a:lstStyle/>
          <a:p>
            <a:pPr marL="85716" indent="-85716"/>
            <a:r>
              <a:rPr lang="en-US" sz="800" b="1" dirty="0">
                <a:solidFill>
                  <a:schemeClr val="accent4"/>
                </a:solidFill>
              </a:rPr>
              <a:t>Within West Africa:</a:t>
            </a:r>
          </a:p>
          <a:p>
            <a:pPr marL="88900" indent="-88900">
              <a:buFont typeface="Wingdings" panose="05000000000000000000" pitchFamily="2" charset="2"/>
              <a:buChar char="§"/>
            </a:pPr>
            <a:r>
              <a:rPr lang="en-US" sz="800" dirty="0" smtClean="0"/>
              <a:t>Nigeria’s population is the largest on the African continent and eight largest in the world</a:t>
            </a:r>
          </a:p>
          <a:p>
            <a:pPr marL="88900" indent="-88900">
              <a:buFont typeface="Wingdings" panose="05000000000000000000" pitchFamily="2" charset="2"/>
              <a:buChar char="§"/>
            </a:pPr>
            <a:r>
              <a:rPr lang="en-US" sz="800" dirty="0" smtClean="0"/>
              <a:t>Largest </a:t>
            </a:r>
            <a:r>
              <a:rPr lang="en-US" sz="800" dirty="0"/>
              <a:t>GDP in Africa</a:t>
            </a:r>
          </a:p>
          <a:p>
            <a:pPr marL="88900" indent="-88900">
              <a:buFont typeface="Wingdings" panose="05000000000000000000" pitchFamily="2" charset="2"/>
              <a:buChar char="§"/>
            </a:pPr>
            <a:r>
              <a:rPr lang="en-US" sz="800" dirty="0"/>
              <a:t>Large hydrocarbon resources, the largest gas reserves and second largest oil reserves in </a:t>
            </a:r>
            <a:r>
              <a:rPr lang="en-US" sz="800" dirty="0" smtClean="0"/>
              <a:t>Africa</a:t>
            </a:r>
          </a:p>
          <a:p>
            <a:pPr algn="l"/>
            <a:r>
              <a:rPr lang="en-US" sz="800" dirty="0" smtClean="0"/>
              <a:t>Nigeria is the emerging economic locomotive of the African continent</a:t>
            </a:r>
            <a:endParaRPr lang="en-US" sz="800" dirty="0"/>
          </a:p>
        </p:txBody>
      </p:sp>
      <p:sp>
        <p:nvSpPr>
          <p:cNvPr id="56" name="Text Box 16"/>
          <p:cNvSpPr txBox="1">
            <a:spLocks noChangeArrowheads="1"/>
          </p:cNvSpPr>
          <p:nvPr/>
        </p:nvSpPr>
        <p:spPr bwMode="auto">
          <a:xfrm>
            <a:off x="1911430" y="1235140"/>
            <a:ext cx="2007742" cy="95405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wrap="square" lIns="93296" tIns="46648" rIns="93296" bIns="46648">
            <a:spAutoFit/>
          </a:bodyPr>
          <a:lstStyle/>
          <a:p>
            <a:pPr marL="85716" indent="-85716"/>
            <a:r>
              <a:rPr lang="en-US" sz="800" b="1" dirty="0">
                <a:solidFill>
                  <a:schemeClr val="accent4"/>
                </a:solidFill>
              </a:rPr>
              <a:t>Within East Africa:</a:t>
            </a:r>
          </a:p>
          <a:p>
            <a:pPr marL="88900" indent="-88900">
              <a:buFont typeface="Wingdings" panose="05000000000000000000" pitchFamily="2" charset="2"/>
              <a:buChar char="§"/>
            </a:pPr>
            <a:r>
              <a:rPr lang="en-US" sz="800" dirty="0"/>
              <a:t>Kenya is the trade and finance hub for East Africa</a:t>
            </a:r>
          </a:p>
          <a:p>
            <a:pPr marL="88900" indent="-88900">
              <a:buFont typeface="Wingdings" panose="05000000000000000000" pitchFamily="2" charset="2"/>
              <a:buChar char="§"/>
            </a:pPr>
            <a:r>
              <a:rPr lang="en-US" sz="800" dirty="0"/>
              <a:t>Highest “ease-of-doing-business” in the East African hub</a:t>
            </a:r>
          </a:p>
          <a:p>
            <a:r>
              <a:rPr lang="en-US" sz="800" dirty="0"/>
              <a:t>Natural entry point to establish African presence from East Africa</a:t>
            </a:r>
          </a:p>
        </p:txBody>
      </p:sp>
      <p:cxnSp>
        <p:nvCxnSpPr>
          <p:cNvPr id="57" name="Curved Connector 56"/>
          <p:cNvCxnSpPr>
            <a:endCxn id="56" idx="1"/>
          </p:cNvCxnSpPr>
          <p:nvPr/>
        </p:nvCxnSpPr>
        <p:spPr>
          <a:xfrm rot="16200000" flipV="1">
            <a:off x="1727763" y="1895836"/>
            <a:ext cx="1552403" cy="1185065"/>
          </a:xfrm>
          <a:prstGeom prst="curvedConnector4">
            <a:avLst>
              <a:gd name="adj1" fmla="val 34636"/>
              <a:gd name="adj2" fmla="val 119290"/>
            </a:avLst>
          </a:prstGeom>
          <a:ln>
            <a:solidFill>
              <a:schemeClr val="accent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Freeform 57"/>
          <p:cNvSpPr/>
          <p:nvPr/>
        </p:nvSpPr>
        <p:spPr>
          <a:xfrm>
            <a:off x="831886" y="1517594"/>
            <a:ext cx="7880653" cy="4655926"/>
          </a:xfrm>
          <a:custGeom>
            <a:avLst/>
            <a:gdLst>
              <a:gd name="connsiteX0" fmla="*/ 0 w 7305675"/>
              <a:gd name="connsiteY0" fmla="*/ 0 h 4610100"/>
              <a:gd name="connsiteX1" fmla="*/ 0 w 7305675"/>
              <a:gd name="connsiteY1" fmla="*/ 4610100 h 4610100"/>
              <a:gd name="connsiteX2" fmla="*/ 7305675 w 7305675"/>
              <a:gd name="connsiteY2" fmla="*/ 4610100 h 4610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305675" h="4610100">
                <a:moveTo>
                  <a:pt x="0" y="0"/>
                </a:moveTo>
                <a:lnTo>
                  <a:pt x="0" y="4610100"/>
                </a:lnTo>
                <a:lnTo>
                  <a:pt x="7305675" y="4610100"/>
                </a:lnTo>
              </a:path>
            </a:pathLst>
          </a:custGeom>
          <a:noFill/>
          <a:ln w="19050">
            <a:solidFill>
              <a:schemeClr val="accent4"/>
            </a:solidFill>
            <a:headEnd type="triangl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sz="800"/>
          </a:p>
        </p:txBody>
      </p:sp>
      <p:sp>
        <p:nvSpPr>
          <p:cNvPr id="59" name="Rectangle 58"/>
          <p:cNvSpPr/>
          <p:nvPr/>
        </p:nvSpPr>
        <p:spPr>
          <a:xfrm rot="16200000">
            <a:off x="223185" y="3622680"/>
            <a:ext cx="1519878" cy="215444"/>
          </a:xfrm>
          <a:prstGeom prst="rect">
            <a:avLst/>
          </a:prstGeom>
        </p:spPr>
        <p:txBody>
          <a:bodyPr wrap="none" lIns="93296" tIns="46648" rIns="93296" bIns="46648">
            <a:spAutoFit/>
          </a:bodyPr>
          <a:lstStyle/>
          <a:p>
            <a:pPr algn="ctr">
              <a:defRPr sz="900" b="0" i="0" u="none" strike="noStrike" kern="1200" baseline="0">
                <a:solidFill>
                  <a:srgbClr val="000000"/>
                </a:solidFill>
                <a:latin typeface="Calibri" panose="020F0502020204030204" pitchFamily="34" charset="0"/>
                <a:ea typeface="Arial"/>
                <a:cs typeface="Calibri" panose="020F0502020204030204" pitchFamily="34" charset="0"/>
              </a:defRPr>
            </a:pPr>
            <a:r>
              <a:rPr lang="en-US" sz="800" dirty="0"/>
              <a:t>Ease of doing business (ranking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Despite the challenges, Nigeria is a key strategic market in Afric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05636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Policy Thrust of Government		</a:t>
            </a:r>
            <a:endParaRPr lang="en-GB" dirty="0"/>
          </a:p>
        </p:txBody>
      </p:sp>
      <p:sp>
        <p:nvSpPr>
          <p:cNvPr id="3" name="TextBox 2"/>
          <p:cNvSpPr txBox="1"/>
          <p:nvPr/>
        </p:nvSpPr>
        <p:spPr>
          <a:xfrm>
            <a:off x="709633" y="925048"/>
            <a:ext cx="8474253" cy="52814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429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586" lvl="1" indent="-195966" defTabSz="913429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31" lvl="2" indent="-267227" defTabSz="913429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768" lvl="3" indent="-158716" defTabSz="913429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4947" lvl="4" indent="-132804" defTabSz="913429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just">
              <a:lnSpc>
                <a:spcPct val="90000"/>
              </a:lnSpc>
              <a:defRPr/>
            </a:pPr>
            <a:r>
              <a:rPr lang="en-US" sz="2000" b="1" dirty="0" smtClean="0">
                <a:latin typeface="Calibri" pitchFamily="34" charset="0"/>
                <a:cs typeface="Calibri" pitchFamily="34" charset="0"/>
              </a:rPr>
              <a:t>The Change </a:t>
            </a:r>
            <a:r>
              <a:rPr lang="en-US" sz="2000" b="1" dirty="0">
                <a:latin typeface="Calibri" pitchFamily="34" charset="0"/>
                <a:cs typeface="Calibri" pitchFamily="34" charset="0"/>
              </a:rPr>
              <a:t>Agenda of Federal </a:t>
            </a:r>
            <a:r>
              <a:rPr lang="en-US" sz="2000" b="1" dirty="0" smtClean="0">
                <a:latin typeface="Calibri" pitchFamily="34" charset="0"/>
                <a:cs typeface="Calibri" pitchFamily="34" charset="0"/>
              </a:rPr>
              <a:t>Government </a:t>
            </a:r>
            <a:r>
              <a:rPr lang="en-US" sz="2000" b="1" dirty="0">
                <a:latin typeface="Calibri" pitchFamily="34" charset="0"/>
                <a:cs typeface="Calibri" pitchFamily="34" charset="0"/>
              </a:rPr>
              <a:t>is predicated on:</a:t>
            </a:r>
          </a:p>
          <a:p>
            <a:pPr algn="just">
              <a:lnSpc>
                <a:spcPct val="90000"/>
              </a:lnSpc>
              <a:defRPr/>
            </a:pPr>
            <a:endParaRPr lang="en-US" sz="800" dirty="0">
              <a:latin typeface="Calibri" pitchFamily="34" charset="0"/>
              <a:cs typeface="Calibri" pitchFamily="34" charset="0"/>
            </a:endParaRPr>
          </a:p>
          <a:p>
            <a:pPr marL="457200" indent="-457200" algn="just">
              <a:lnSpc>
                <a:spcPct val="90000"/>
              </a:lnSpc>
              <a:buFont typeface="Wingdings" pitchFamily="2" charset="2"/>
              <a:buChar char="§"/>
              <a:defRPr/>
            </a:pPr>
            <a:r>
              <a:rPr lang="en-US" sz="2000" dirty="0">
                <a:latin typeface="Calibri" pitchFamily="34" charset="0"/>
                <a:cs typeface="Calibri" pitchFamily="34" charset="0"/>
              </a:rPr>
              <a:t>Rule of Law anchored on Good Governance and </a:t>
            </a:r>
          </a:p>
          <a:p>
            <a:pPr algn="just">
              <a:lnSpc>
                <a:spcPct val="90000"/>
              </a:lnSpc>
              <a:defRPr/>
            </a:pPr>
            <a:r>
              <a:rPr lang="en-US" sz="2000" dirty="0">
                <a:latin typeface="Calibri" pitchFamily="34" charset="0"/>
                <a:cs typeface="Calibri" pitchFamily="34" charset="0"/>
              </a:rPr>
              <a:t>     </a:t>
            </a:r>
            <a:r>
              <a:rPr lang="en-US" sz="2000" dirty="0" smtClean="0">
                <a:latin typeface="Calibri" pitchFamily="34" charset="0"/>
                <a:cs typeface="Calibri" pitchFamily="34" charset="0"/>
              </a:rPr>
              <a:t>   driven </a:t>
            </a:r>
            <a:r>
              <a:rPr lang="en-US" sz="2000" dirty="0">
                <a:latin typeface="Calibri" pitchFamily="34" charset="0"/>
                <a:cs typeface="Calibri" pitchFamily="34" charset="0"/>
              </a:rPr>
              <a:t>by uncommon sense of service</a:t>
            </a:r>
          </a:p>
          <a:p>
            <a:pPr marL="342900" indent="-342900" algn="just">
              <a:lnSpc>
                <a:spcPct val="90000"/>
              </a:lnSpc>
              <a:buFont typeface="Wingdings" pitchFamily="2" charset="2"/>
              <a:buChar char="§"/>
              <a:defRPr/>
            </a:pPr>
            <a:endParaRPr lang="en-US" sz="800" dirty="0">
              <a:latin typeface="Calibri" pitchFamily="34" charset="0"/>
              <a:cs typeface="Calibri" pitchFamily="34" charset="0"/>
            </a:endParaRPr>
          </a:p>
          <a:p>
            <a:pPr marL="457200" indent="-457200" algn="just">
              <a:lnSpc>
                <a:spcPct val="90000"/>
              </a:lnSpc>
              <a:buFont typeface="Wingdings" pitchFamily="2" charset="2"/>
              <a:buChar char="§"/>
              <a:defRPr/>
            </a:pPr>
            <a:r>
              <a:rPr lang="en-US" sz="2000" dirty="0">
                <a:latin typeface="Calibri" pitchFamily="34" charset="0"/>
                <a:cs typeface="Calibri" pitchFamily="34" charset="0"/>
              </a:rPr>
              <a:t>Transparency</a:t>
            </a:r>
          </a:p>
          <a:p>
            <a:pPr marL="457200" indent="-457200" algn="just">
              <a:lnSpc>
                <a:spcPct val="90000"/>
              </a:lnSpc>
              <a:buFont typeface="Wingdings" pitchFamily="2" charset="2"/>
              <a:buChar char="§"/>
              <a:defRPr/>
            </a:pPr>
            <a:endParaRPr lang="en-US" sz="800" dirty="0">
              <a:latin typeface="Calibri" pitchFamily="34" charset="0"/>
              <a:cs typeface="Calibri" pitchFamily="34" charset="0"/>
            </a:endParaRPr>
          </a:p>
          <a:p>
            <a:pPr marL="457200" indent="-457200" algn="just">
              <a:lnSpc>
                <a:spcPct val="90000"/>
              </a:lnSpc>
              <a:buFont typeface="Wingdings" pitchFamily="2" charset="2"/>
              <a:buChar char="§"/>
              <a:defRPr/>
            </a:pPr>
            <a:r>
              <a:rPr lang="en-US" sz="2000" dirty="0">
                <a:latin typeface="Calibri" pitchFamily="34" charset="0"/>
                <a:cs typeface="Calibri" pitchFamily="34" charset="0"/>
              </a:rPr>
              <a:t>Accountability</a:t>
            </a:r>
          </a:p>
          <a:p>
            <a:pPr marL="457200" indent="-457200" algn="just">
              <a:lnSpc>
                <a:spcPct val="90000"/>
              </a:lnSpc>
              <a:buFont typeface="Wingdings" pitchFamily="2" charset="2"/>
              <a:buChar char="§"/>
              <a:defRPr/>
            </a:pPr>
            <a:endParaRPr lang="en-US" sz="800" dirty="0">
              <a:latin typeface="Calibri" pitchFamily="34" charset="0"/>
              <a:cs typeface="Calibri" pitchFamily="34" charset="0"/>
            </a:endParaRPr>
          </a:p>
          <a:p>
            <a:pPr marL="457200" indent="-457200" algn="just">
              <a:lnSpc>
                <a:spcPct val="90000"/>
              </a:lnSpc>
              <a:buFont typeface="Wingdings" pitchFamily="2" charset="2"/>
              <a:buChar char="§"/>
              <a:defRPr/>
            </a:pPr>
            <a:r>
              <a:rPr lang="en-US" sz="2000" dirty="0">
                <a:latin typeface="Calibri" pitchFamily="34" charset="0"/>
                <a:cs typeface="Calibri" pitchFamily="34" charset="0"/>
              </a:rPr>
              <a:t>Zero-Tolerance for </a:t>
            </a:r>
            <a:r>
              <a:rPr lang="en-US" sz="2000" dirty="0" smtClean="0">
                <a:latin typeface="Calibri" pitchFamily="34" charset="0"/>
                <a:cs typeface="Calibri" pitchFamily="34" charset="0"/>
              </a:rPr>
              <a:t>corruption </a:t>
            </a:r>
            <a:endParaRPr lang="en-US" sz="2000" dirty="0">
              <a:latin typeface="Calibri" pitchFamily="34" charset="0"/>
              <a:cs typeface="Calibri" pitchFamily="34" charset="0"/>
            </a:endParaRPr>
          </a:p>
          <a:p>
            <a:pPr marL="457200" indent="-457200" algn="just">
              <a:lnSpc>
                <a:spcPct val="90000"/>
              </a:lnSpc>
              <a:buFont typeface="Wingdings" pitchFamily="2" charset="2"/>
              <a:buChar char="§"/>
              <a:defRPr/>
            </a:pPr>
            <a:endParaRPr lang="en-US" sz="800" dirty="0">
              <a:latin typeface="Calibri" pitchFamily="34" charset="0"/>
              <a:cs typeface="Calibri" pitchFamily="34" charset="0"/>
            </a:endParaRPr>
          </a:p>
          <a:p>
            <a:pPr marL="457200" indent="-457200" algn="just">
              <a:lnSpc>
                <a:spcPct val="90000"/>
              </a:lnSpc>
              <a:buFont typeface="Wingdings" pitchFamily="2" charset="2"/>
              <a:buChar char="§"/>
              <a:defRPr/>
            </a:pPr>
            <a:r>
              <a:rPr lang="en-US" sz="2000" dirty="0">
                <a:latin typeface="Calibri" pitchFamily="34" charset="0"/>
                <a:cs typeface="Calibri" pitchFamily="34" charset="0"/>
              </a:rPr>
              <a:t>Security of </a:t>
            </a:r>
            <a:r>
              <a:rPr lang="en-US" sz="2000" dirty="0" smtClean="0">
                <a:latin typeface="Calibri" pitchFamily="34" charset="0"/>
                <a:cs typeface="Calibri" pitchFamily="34" charset="0"/>
              </a:rPr>
              <a:t>lives </a:t>
            </a:r>
            <a:r>
              <a:rPr lang="en-US" sz="2000" dirty="0">
                <a:latin typeface="Calibri" pitchFamily="34" charset="0"/>
                <a:cs typeface="Calibri" pitchFamily="34" charset="0"/>
              </a:rPr>
              <a:t>and </a:t>
            </a:r>
            <a:r>
              <a:rPr lang="en-US" sz="2000" dirty="0" smtClean="0">
                <a:latin typeface="Calibri" pitchFamily="34" charset="0"/>
                <a:cs typeface="Calibri" pitchFamily="34" charset="0"/>
              </a:rPr>
              <a:t>properties</a:t>
            </a:r>
            <a:endParaRPr lang="en-US" sz="2000" dirty="0">
              <a:latin typeface="Calibri" pitchFamily="34" charset="0"/>
              <a:cs typeface="Calibri" pitchFamily="34" charset="0"/>
            </a:endParaRPr>
          </a:p>
          <a:p>
            <a:pPr marL="457200" indent="-457200" algn="just">
              <a:lnSpc>
                <a:spcPct val="90000"/>
              </a:lnSpc>
              <a:buFont typeface="Wingdings" pitchFamily="2" charset="2"/>
              <a:buChar char="§"/>
              <a:defRPr/>
            </a:pPr>
            <a:endParaRPr lang="en-US" sz="800" dirty="0">
              <a:latin typeface="Calibri" pitchFamily="34" charset="0"/>
              <a:cs typeface="Calibri" pitchFamily="34" charset="0"/>
            </a:endParaRPr>
          </a:p>
          <a:p>
            <a:pPr marL="457200" indent="-457200" algn="just">
              <a:lnSpc>
                <a:spcPct val="90000"/>
              </a:lnSpc>
              <a:buFont typeface="Wingdings" pitchFamily="2" charset="2"/>
              <a:buChar char="§"/>
              <a:defRPr/>
            </a:pPr>
            <a:r>
              <a:rPr lang="en-US" sz="2000" dirty="0">
                <a:latin typeface="Calibri" pitchFamily="34" charset="0"/>
                <a:cs typeface="Calibri" pitchFamily="34" charset="0"/>
              </a:rPr>
              <a:t>Firm </a:t>
            </a:r>
            <a:r>
              <a:rPr lang="en-US" sz="2000" dirty="0" smtClean="0">
                <a:latin typeface="Calibri" pitchFamily="34" charset="0"/>
                <a:cs typeface="Calibri" pitchFamily="34" charset="0"/>
              </a:rPr>
              <a:t>support </a:t>
            </a:r>
            <a:r>
              <a:rPr lang="en-US" sz="2000" dirty="0">
                <a:latin typeface="Calibri" pitchFamily="34" charset="0"/>
                <a:cs typeface="Calibri" pitchFamily="34" charset="0"/>
              </a:rPr>
              <a:t>and </a:t>
            </a:r>
            <a:r>
              <a:rPr lang="en-US" sz="2000" dirty="0" smtClean="0">
                <a:latin typeface="Calibri" pitchFamily="34" charset="0"/>
                <a:cs typeface="Calibri" pitchFamily="34" charset="0"/>
              </a:rPr>
              <a:t>productive partnership </a:t>
            </a:r>
            <a:r>
              <a:rPr lang="en-US" sz="2000" dirty="0">
                <a:latin typeface="Calibri" pitchFamily="34" charset="0"/>
                <a:cs typeface="Calibri" pitchFamily="34" charset="0"/>
              </a:rPr>
              <a:t>with </a:t>
            </a:r>
          </a:p>
          <a:p>
            <a:pPr algn="just">
              <a:lnSpc>
                <a:spcPct val="90000"/>
              </a:lnSpc>
              <a:defRPr/>
            </a:pPr>
            <a:r>
              <a:rPr lang="en-US" sz="2000" dirty="0">
                <a:latin typeface="Calibri" pitchFamily="34" charset="0"/>
                <a:cs typeface="Calibri" pitchFamily="34" charset="0"/>
              </a:rPr>
              <a:t>      </a:t>
            </a:r>
            <a:r>
              <a:rPr lang="en-US" sz="2000" dirty="0" smtClean="0">
                <a:latin typeface="Calibri" pitchFamily="34" charset="0"/>
                <a:cs typeface="Calibri" pitchFamily="34" charset="0"/>
              </a:rPr>
              <a:t>  Organized </a:t>
            </a:r>
            <a:r>
              <a:rPr lang="en-US" sz="2000" dirty="0">
                <a:latin typeface="Calibri" pitchFamily="34" charset="0"/>
                <a:cs typeface="Calibri" pitchFamily="34" charset="0"/>
              </a:rPr>
              <a:t>Private Sector / Investors </a:t>
            </a:r>
            <a:endParaRPr lang="en-US" sz="2000" dirty="0" smtClean="0">
              <a:latin typeface="Calibri" pitchFamily="34" charset="0"/>
              <a:cs typeface="Calibri" pitchFamily="34" charset="0"/>
            </a:endParaRPr>
          </a:p>
          <a:p>
            <a:pPr algn="just">
              <a:lnSpc>
                <a:spcPct val="90000"/>
              </a:lnSpc>
              <a:defRPr/>
            </a:pPr>
            <a:endParaRPr lang="en-US" sz="800" dirty="0">
              <a:latin typeface="Calibri" pitchFamily="34" charset="0"/>
              <a:cs typeface="Calibri" pitchFamily="34" charset="0"/>
            </a:endParaRPr>
          </a:p>
          <a:p>
            <a:pPr marL="342900" indent="-342900" algn="just">
              <a:lnSpc>
                <a:spcPct val="90000"/>
              </a:lnSpc>
              <a:buFont typeface="Wingdings" pitchFamily="2" charset="2"/>
              <a:buChar char="§"/>
              <a:defRPr/>
            </a:pPr>
            <a:r>
              <a:rPr lang="en-US" altLang="en-US" sz="2000" dirty="0" smtClean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  </a:t>
            </a:r>
            <a:r>
              <a:rPr lang="en-GB" altLang="en-US" sz="2000" dirty="0" smtClean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Provide </a:t>
            </a:r>
            <a:r>
              <a:rPr lang="en-GB" altLang="en-US" sz="2000" dirty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a </a:t>
            </a:r>
            <a:r>
              <a:rPr lang="en-GB" altLang="en-US" sz="2000" dirty="0" smtClean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predictable </a:t>
            </a:r>
            <a:r>
              <a:rPr lang="en-GB" altLang="en-US" sz="2000" dirty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Macroeconomic </a:t>
            </a:r>
            <a:r>
              <a:rPr lang="en-GB" altLang="en-US" sz="2000" dirty="0" smtClean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Framework</a:t>
            </a:r>
          </a:p>
          <a:p>
            <a:pPr marL="342900" indent="-342900" algn="just">
              <a:lnSpc>
                <a:spcPct val="90000"/>
              </a:lnSpc>
              <a:buFont typeface="Wingdings" pitchFamily="2" charset="2"/>
              <a:buChar char="§"/>
              <a:defRPr/>
            </a:pPr>
            <a:endParaRPr lang="en-GB" altLang="en-US" sz="800" dirty="0">
              <a:solidFill>
                <a:prstClr val="black"/>
              </a:solidFill>
              <a:latin typeface="Calibri" pitchFamily="34" charset="0"/>
              <a:cs typeface="Calibri" pitchFamily="34" charset="0"/>
            </a:endParaRPr>
          </a:p>
          <a:p>
            <a:pPr marL="342900" indent="-342900" algn="just">
              <a:lnSpc>
                <a:spcPct val="90000"/>
              </a:lnSpc>
              <a:buFont typeface="Wingdings" pitchFamily="2" charset="2"/>
              <a:buChar char="§"/>
              <a:defRPr/>
            </a:pPr>
            <a:r>
              <a:rPr lang="en-GB" altLang="en-US" sz="2000" dirty="0" smtClean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Facilitate </a:t>
            </a:r>
            <a:r>
              <a:rPr lang="en-GB" altLang="en-US" sz="2000" dirty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a </a:t>
            </a:r>
            <a:r>
              <a:rPr lang="en-GB" altLang="en-US" sz="2000" dirty="0" smtClean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private sector driven </a:t>
            </a:r>
            <a:r>
              <a:rPr lang="en-GB" altLang="en-US" sz="2000" dirty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e</a:t>
            </a:r>
            <a:r>
              <a:rPr lang="en-GB" altLang="en-US" sz="2000" dirty="0" smtClean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conomy </a:t>
            </a:r>
            <a:endParaRPr lang="en-GB" altLang="en-US" sz="2000" dirty="0">
              <a:solidFill>
                <a:prstClr val="black"/>
              </a:solidFill>
              <a:latin typeface="Calibri" pitchFamily="34" charset="0"/>
              <a:cs typeface="Calibri" pitchFamily="34" charset="0"/>
            </a:endParaRPr>
          </a:p>
          <a:p>
            <a:pPr marL="800100" lvl="1" indent="-342900" algn="just">
              <a:spcBef>
                <a:spcPct val="20000"/>
              </a:spcBef>
              <a:buFont typeface="Arial" charset="0"/>
              <a:buChar char="•"/>
              <a:defRPr/>
            </a:pPr>
            <a:r>
              <a:rPr lang="en-GB" altLang="en-US" sz="1600" dirty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Promote and attract value-added industrialization</a:t>
            </a:r>
          </a:p>
          <a:p>
            <a:pPr marL="800100" lvl="1" indent="-342900" algn="just">
              <a:spcBef>
                <a:spcPct val="20000"/>
              </a:spcBef>
              <a:buFont typeface="Arial" charset="0"/>
              <a:buChar char="•"/>
              <a:defRPr/>
            </a:pPr>
            <a:r>
              <a:rPr lang="en-GB" altLang="en-US" sz="1600" dirty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Attract export-oriented Non-oil Sector </a:t>
            </a:r>
            <a:r>
              <a:rPr lang="en-GB" altLang="en-US" sz="1600" dirty="0" smtClean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FDI</a:t>
            </a:r>
          </a:p>
          <a:p>
            <a:pPr marL="342900" indent="-342900" algn="just">
              <a:lnSpc>
                <a:spcPct val="90000"/>
              </a:lnSpc>
              <a:buFont typeface="Wingdings" pitchFamily="2" charset="2"/>
              <a:buChar char="§"/>
              <a:defRPr/>
            </a:pPr>
            <a:endParaRPr lang="en-US" sz="800" dirty="0">
              <a:latin typeface="Calibri" pitchFamily="34" charset="0"/>
              <a:cs typeface="Calibri" pitchFamily="34" charset="0"/>
            </a:endParaRPr>
          </a:p>
          <a:p>
            <a:pPr marL="457200" indent="-457200" algn="just">
              <a:lnSpc>
                <a:spcPct val="90000"/>
              </a:lnSpc>
              <a:buFont typeface="Wingdings" pitchFamily="2" charset="2"/>
              <a:buChar char="§"/>
              <a:defRPr/>
            </a:pPr>
            <a:r>
              <a:rPr lang="en-GB" altLang="en-US" sz="2000" dirty="0" smtClean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Make FDI work for local the economy; i.e. job creation, supply-chain </a:t>
            </a:r>
            <a:r>
              <a:rPr lang="en-GB" altLang="en-US" sz="2000" dirty="0" err="1" smtClean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etc</a:t>
            </a:r>
            <a:endParaRPr lang="en-GB" altLang="en-US" sz="2000" dirty="0" smtClean="0">
              <a:solidFill>
                <a:prstClr val="black"/>
              </a:solidFill>
              <a:latin typeface="Calibri" pitchFamily="34" charset="0"/>
              <a:cs typeface="Calibri" pitchFamily="34" charset="0"/>
            </a:endParaRPr>
          </a:p>
          <a:p>
            <a:pPr marL="342900" indent="-342900" algn="just">
              <a:spcBef>
                <a:spcPct val="20000"/>
              </a:spcBef>
              <a:buFont typeface="Wingdings" pitchFamily="2" charset="2"/>
              <a:buChar char="§"/>
              <a:defRPr/>
            </a:pPr>
            <a:r>
              <a:rPr lang="en-GB" altLang="en-US" sz="2000" dirty="0" smtClean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Develop </a:t>
            </a:r>
            <a:r>
              <a:rPr lang="en-GB" altLang="en-US" sz="2000" dirty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a well integrated physical i</a:t>
            </a:r>
            <a:r>
              <a:rPr lang="en-GB" altLang="en-US" sz="2000" dirty="0" smtClean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nfrastructure</a:t>
            </a:r>
            <a:endParaRPr lang="en-US" sz="1600" b="1" dirty="0" smtClean="0">
              <a:solidFill>
                <a:srgbClr val="8AB833">
                  <a:lumMod val="75000"/>
                </a:srgbClr>
              </a:solidFill>
              <a:latin typeface="Calibri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712620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PEBEC</a:t>
            </a:r>
            <a:endParaRPr lang="en-GB" dirty="0"/>
          </a:p>
        </p:txBody>
      </p:sp>
      <p:sp>
        <p:nvSpPr>
          <p:cNvPr id="3" name="Rectangle 2"/>
          <p:cNvSpPr/>
          <p:nvPr/>
        </p:nvSpPr>
        <p:spPr>
          <a:xfrm>
            <a:off x="643094" y="1296236"/>
            <a:ext cx="8792307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/>
              <a:t>Presidential Enabling Business Environment Council (PEBEC): The President approved the formation of the Presidential Enabling Business Environment Council (PEBEC) – chaired by H.E. the Vice President and comprised of 10 Honourable Ministers, the Central Bank Governor, and the Head of Service</a:t>
            </a:r>
          </a:p>
          <a:p>
            <a:r>
              <a:rPr lang="en-GB" dirty="0"/>
              <a:t>PEBEC is supported by the Enabling Business Environment Secretariat (EBES), a small task force responsible for driving the reform agenda and ensuring implementation across MDAs</a:t>
            </a:r>
          </a:p>
        </p:txBody>
      </p:sp>
    </p:spTree>
    <p:extLst>
      <p:ext uri="{BB962C8B-B14F-4D97-AF65-F5344CB8AC3E}">
        <p14:creationId xmlns:p14="http://schemas.microsoft.com/office/powerpoint/2010/main" val="9284255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itle 1"/>
          <p:cNvSpPr txBox="1">
            <a:spLocks/>
          </p:cNvSpPr>
          <p:nvPr/>
        </p:nvSpPr>
        <p:spPr>
          <a:xfrm>
            <a:off x="298079" y="403127"/>
            <a:ext cx="8543925" cy="561150"/>
          </a:xfrm>
          <a:prstGeom prst="rect">
            <a:avLst/>
          </a:prstGeom>
        </p:spPr>
        <p:txBody>
          <a:bodyPr anchor="ctr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2367A"/>
                </a:solidFill>
                <a:latin typeface="Arial" charset="0"/>
              </a:defRPr>
            </a:lvl9pPr>
          </a:lstStyle>
          <a:p>
            <a:endParaRPr lang="en-US" kern="0">
              <a:solidFill>
                <a:prstClr val="white"/>
              </a:solidFill>
            </a:endParaRPr>
          </a:p>
        </p:txBody>
      </p:sp>
      <p:sp>
        <p:nvSpPr>
          <p:cNvPr id="45" name="Title 3"/>
          <p:cNvSpPr>
            <a:spLocks noGrp="1"/>
          </p:cNvSpPr>
          <p:nvPr>
            <p:ph type="title"/>
          </p:nvPr>
        </p:nvSpPr>
        <p:spPr>
          <a:xfrm>
            <a:off x="277277" y="349309"/>
            <a:ext cx="8543925" cy="307777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 smtClean="0">
                <a:latin typeface="Calibri Light" panose="020F0302020204030204" pitchFamily="34" charset="0"/>
              </a:rPr>
              <a:t>PEBEC: Scorecard</a:t>
            </a:r>
            <a:endParaRPr lang="en-US" b="0" dirty="0">
              <a:latin typeface="Calibri Light" panose="020F0302020204030204" pitchFamily="34" charset="0"/>
            </a:endParaRPr>
          </a:p>
        </p:txBody>
      </p:sp>
      <p:sp>
        <p:nvSpPr>
          <p:cNvPr id="46" name="Rectangle 45"/>
          <p:cNvSpPr>
            <a:spLocks/>
          </p:cNvSpPr>
          <p:nvPr/>
        </p:nvSpPr>
        <p:spPr>
          <a:xfrm>
            <a:off x="656777" y="989044"/>
            <a:ext cx="8871536" cy="5423739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prstClr val="white"/>
              </a:solidFill>
            </a:endParaRPr>
          </a:p>
        </p:txBody>
      </p:sp>
      <p:cxnSp>
        <p:nvCxnSpPr>
          <p:cNvPr id="47" name="Straight Connector 46"/>
          <p:cNvCxnSpPr/>
          <p:nvPr/>
        </p:nvCxnSpPr>
        <p:spPr>
          <a:xfrm>
            <a:off x="4255566" y="2083290"/>
            <a:ext cx="873290" cy="0"/>
          </a:xfrm>
          <a:prstGeom prst="line">
            <a:avLst/>
          </a:prstGeom>
          <a:ln w="19050">
            <a:solidFill>
              <a:schemeClr val="accent6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/>
        </p:nvCxnSpPr>
        <p:spPr>
          <a:xfrm>
            <a:off x="4490528" y="3214659"/>
            <a:ext cx="636820" cy="0"/>
          </a:xfrm>
          <a:prstGeom prst="line">
            <a:avLst/>
          </a:prstGeom>
          <a:ln w="19050">
            <a:solidFill>
              <a:schemeClr val="accent6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/>
        </p:nvCxnSpPr>
        <p:spPr>
          <a:xfrm>
            <a:off x="4692393" y="5130788"/>
            <a:ext cx="434956" cy="0"/>
          </a:xfrm>
          <a:prstGeom prst="line">
            <a:avLst/>
          </a:prstGeom>
          <a:ln w="19050">
            <a:solidFill>
              <a:schemeClr val="accent6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>
            <a:cxnSpLocks/>
          </p:cNvCxnSpPr>
          <p:nvPr/>
        </p:nvCxnSpPr>
        <p:spPr>
          <a:xfrm>
            <a:off x="5127348" y="3837296"/>
            <a:ext cx="0" cy="2361966"/>
          </a:xfrm>
          <a:prstGeom prst="line">
            <a:avLst/>
          </a:prstGeom>
          <a:ln w="19050">
            <a:solidFill>
              <a:schemeClr val="accent6"/>
            </a:solidFill>
            <a:head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>
            <a:cxnSpLocks/>
          </p:cNvCxnSpPr>
          <p:nvPr/>
        </p:nvCxnSpPr>
        <p:spPr>
          <a:xfrm>
            <a:off x="5127348" y="1129813"/>
            <a:ext cx="0" cy="2386313"/>
          </a:xfrm>
          <a:prstGeom prst="line">
            <a:avLst/>
          </a:prstGeom>
          <a:ln w="19050">
            <a:solidFill>
              <a:schemeClr val="accent6"/>
            </a:solidFill>
            <a:head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2" name="Group 51"/>
          <p:cNvGrpSpPr/>
          <p:nvPr/>
        </p:nvGrpSpPr>
        <p:grpSpPr>
          <a:xfrm>
            <a:off x="757123" y="1096314"/>
            <a:ext cx="3676477" cy="5209196"/>
            <a:chOff x="431885" y="1322942"/>
            <a:chExt cx="3603288" cy="5004896"/>
          </a:xfrm>
        </p:grpSpPr>
        <p:pic>
          <p:nvPicPr>
            <p:cNvPr id="53" name="Picture 52"/>
            <p:cNvPicPr>
              <a:picLocks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1885" y="1322942"/>
              <a:ext cx="2233739" cy="3167314"/>
            </a:xfrm>
            <a:prstGeom prst="rect">
              <a:avLst/>
            </a:prstGeom>
            <a:ln>
              <a:solidFill>
                <a:schemeClr val="accent6"/>
              </a:solidFill>
            </a:ln>
          </p:spPr>
        </p:pic>
        <p:pic>
          <p:nvPicPr>
            <p:cNvPr id="54" name="Picture 53"/>
            <p:cNvPicPr>
              <a:picLocks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4272" y="1782338"/>
              <a:ext cx="2233739" cy="3167314"/>
            </a:xfrm>
            <a:prstGeom prst="rect">
              <a:avLst/>
            </a:prstGeom>
            <a:ln>
              <a:solidFill>
                <a:schemeClr val="accent6"/>
              </a:solidFill>
            </a:ln>
          </p:spPr>
        </p:pic>
        <p:pic>
          <p:nvPicPr>
            <p:cNvPr id="55" name="Picture 54"/>
            <p:cNvPicPr>
              <a:picLocks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16659" y="2241734"/>
              <a:ext cx="2233739" cy="3167314"/>
            </a:xfrm>
            <a:prstGeom prst="rect">
              <a:avLst/>
            </a:prstGeom>
            <a:ln>
              <a:solidFill>
                <a:schemeClr val="accent6"/>
              </a:solidFill>
            </a:ln>
          </p:spPr>
        </p:pic>
        <p:pic>
          <p:nvPicPr>
            <p:cNvPr id="56" name="Picture 55"/>
            <p:cNvPicPr>
              <a:picLocks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59046" y="2701130"/>
              <a:ext cx="2233739" cy="3167314"/>
            </a:xfrm>
            <a:prstGeom prst="rect">
              <a:avLst/>
            </a:prstGeom>
            <a:ln>
              <a:solidFill>
                <a:schemeClr val="accent6"/>
              </a:solidFill>
            </a:ln>
          </p:spPr>
        </p:pic>
        <p:pic>
          <p:nvPicPr>
            <p:cNvPr id="57" name="Picture 56"/>
            <p:cNvPicPr>
              <a:picLocks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01434" y="3160524"/>
              <a:ext cx="2233739" cy="3167314"/>
            </a:xfrm>
            <a:prstGeom prst="rect">
              <a:avLst/>
            </a:prstGeom>
            <a:ln>
              <a:solidFill>
                <a:schemeClr val="accent6"/>
              </a:solidFill>
            </a:ln>
          </p:spPr>
        </p:pic>
      </p:grpSp>
      <p:sp>
        <p:nvSpPr>
          <p:cNvPr id="58" name="TextBox 57"/>
          <p:cNvSpPr txBox="1">
            <a:spLocks/>
          </p:cNvSpPr>
          <p:nvPr/>
        </p:nvSpPr>
        <p:spPr>
          <a:xfrm>
            <a:off x="5197249" y="1129813"/>
            <a:ext cx="3792602" cy="2068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18288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indent="-195987" defTabSz="913526" eaLnBrk="1" hangingPunct="1">
              <a:buClr>
                <a:schemeClr val="accent3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indent="-267255" defTabSz="913526" eaLnBrk="1" hangingPunct="1">
              <a:buClr>
                <a:schemeClr val="accent3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indent="-158733" defTabSz="913526" eaLnBrk="1" hangingPunct="1">
              <a:buClr>
                <a:schemeClr val="accent3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indent="-132818" defTabSz="913526" eaLnBrk="1" hangingPunct="1">
              <a:buClr>
                <a:schemeClr val="accent3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777777"/>
              </a:buClr>
            </a:pPr>
            <a:r>
              <a:rPr lang="en-US" sz="1200" b="1" dirty="0">
                <a:solidFill>
                  <a:srgbClr val="029676"/>
                </a:solidFill>
              </a:rPr>
              <a:t>Done!</a:t>
            </a:r>
          </a:p>
        </p:txBody>
      </p:sp>
      <p:cxnSp>
        <p:nvCxnSpPr>
          <p:cNvPr id="59" name="Straight Connector 58"/>
          <p:cNvCxnSpPr>
            <a:cxnSpLocks/>
          </p:cNvCxnSpPr>
          <p:nvPr/>
        </p:nvCxnSpPr>
        <p:spPr bwMode="auto">
          <a:xfrm>
            <a:off x="5197249" y="1336663"/>
            <a:ext cx="3792602" cy="0"/>
          </a:xfrm>
          <a:prstGeom prst="line">
            <a:avLst/>
          </a:prstGeom>
          <a:noFill/>
          <a:ln w="9525">
            <a:solidFill>
              <a:schemeClr val="accent4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0" name="TextBox 59"/>
          <p:cNvSpPr txBox="1"/>
          <p:nvPr/>
        </p:nvSpPr>
        <p:spPr>
          <a:xfrm>
            <a:off x="5197248" y="1366563"/>
            <a:ext cx="4225047" cy="21068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429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586" lvl="1" indent="-195966" defTabSz="913429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31" lvl="2" indent="-267227" defTabSz="913429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768" lvl="3" indent="-158716" defTabSz="913429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4947" lvl="4" indent="-132804" defTabSz="913429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25000"/>
              </a:spcBef>
              <a:buClr>
                <a:srgbClr val="455F51"/>
              </a:buClr>
            </a:pPr>
            <a:r>
              <a:rPr lang="en-US" sz="1200" b="1" dirty="0">
                <a:solidFill>
                  <a:srgbClr val="029676"/>
                </a:solidFill>
              </a:rPr>
              <a:t>Starting a Business: </a:t>
            </a:r>
          </a:p>
          <a:p>
            <a:pPr lvl="2">
              <a:spcBef>
                <a:spcPct val="12500"/>
              </a:spcBef>
              <a:buClr>
                <a:srgbClr val="455F51"/>
              </a:buClr>
            </a:pPr>
            <a:r>
              <a:rPr lang="en-US" sz="1200" dirty="0">
                <a:solidFill>
                  <a:prstClr val="black"/>
                </a:solidFill>
              </a:rPr>
              <a:t>Fully operationalize online company name search</a:t>
            </a:r>
          </a:p>
          <a:p>
            <a:pPr lvl="2">
              <a:spcBef>
                <a:spcPct val="12500"/>
              </a:spcBef>
              <a:buClr>
                <a:srgbClr val="455F51"/>
              </a:buClr>
            </a:pPr>
            <a:r>
              <a:rPr lang="en-US" sz="1200" dirty="0">
                <a:solidFill>
                  <a:prstClr val="black"/>
                </a:solidFill>
              </a:rPr>
              <a:t>FIRS e-payment/e-stamping solution integrated</a:t>
            </a:r>
          </a:p>
          <a:p>
            <a:pPr lvl="1">
              <a:spcBef>
                <a:spcPct val="25000"/>
              </a:spcBef>
              <a:buClr>
                <a:srgbClr val="455F51"/>
              </a:buClr>
            </a:pPr>
            <a:r>
              <a:rPr lang="en-US" sz="1200" b="1" dirty="0">
                <a:solidFill>
                  <a:srgbClr val="029676"/>
                </a:solidFill>
              </a:rPr>
              <a:t>Entry &amp; Exit of People:</a:t>
            </a:r>
          </a:p>
          <a:p>
            <a:pPr lvl="2">
              <a:spcBef>
                <a:spcPct val="12500"/>
              </a:spcBef>
              <a:buClr>
                <a:srgbClr val="455F51"/>
              </a:buClr>
            </a:pPr>
            <a:r>
              <a:rPr lang="en-US" sz="1200" dirty="0">
                <a:solidFill>
                  <a:prstClr val="black"/>
                </a:solidFill>
              </a:rPr>
              <a:t>Simplify visa-on-arrival process, incl. e-submission</a:t>
            </a:r>
          </a:p>
          <a:p>
            <a:pPr lvl="2">
              <a:spcBef>
                <a:spcPct val="12500"/>
              </a:spcBef>
              <a:buClr>
                <a:srgbClr val="455F51"/>
              </a:buClr>
            </a:pPr>
            <a:r>
              <a:rPr lang="en-US" sz="1200" dirty="0">
                <a:solidFill>
                  <a:prstClr val="black"/>
                </a:solidFill>
              </a:rPr>
              <a:t>Sign &amp; issue new 2017 immigration regulations</a:t>
            </a:r>
          </a:p>
          <a:p>
            <a:pPr lvl="2">
              <a:spcBef>
                <a:spcPct val="12500"/>
              </a:spcBef>
              <a:buClr>
                <a:srgbClr val="455F51"/>
              </a:buClr>
            </a:pPr>
            <a:r>
              <a:rPr lang="en-US" sz="1200" dirty="0">
                <a:solidFill>
                  <a:prstClr val="black"/>
                </a:solidFill>
              </a:rPr>
              <a:t>Consolidate arrival and departure forms</a:t>
            </a:r>
          </a:p>
          <a:p>
            <a:pPr lvl="1">
              <a:spcBef>
                <a:spcPct val="25000"/>
              </a:spcBef>
              <a:buClr>
                <a:srgbClr val="455F51"/>
              </a:buClr>
            </a:pPr>
            <a:r>
              <a:rPr lang="en-US" sz="1200" b="1" dirty="0">
                <a:solidFill>
                  <a:srgbClr val="029676"/>
                </a:solidFill>
              </a:rPr>
              <a:t>Trading Across Borders</a:t>
            </a:r>
          </a:p>
          <a:p>
            <a:pPr lvl="2">
              <a:spcBef>
                <a:spcPct val="12500"/>
              </a:spcBef>
              <a:buClr>
                <a:srgbClr val="455F51"/>
              </a:buClr>
            </a:pPr>
            <a:r>
              <a:rPr lang="en-US" sz="1200" dirty="0">
                <a:solidFill>
                  <a:prstClr val="black"/>
                </a:solidFill>
              </a:rPr>
              <a:t>Mandate use of pallets for imports to Nigeria</a:t>
            </a:r>
          </a:p>
          <a:p>
            <a:pPr lvl="2">
              <a:spcBef>
                <a:spcPct val="12500"/>
              </a:spcBef>
              <a:buClr>
                <a:srgbClr val="455F51"/>
              </a:buClr>
            </a:pPr>
            <a:r>
              <a:rPr lang="en-US" sz="1200" dirty="0" err="1">
                <a:solidFill>
                  <a:prstClr val="black"/>
                </a:solidFill>
              </a:rPr>
              <a:t>NCS</a:t>
            </a:r>
            <a:r>
              <a:rPr lang="en-US" sz="1200" dirty="0">
                <a:solidFill>
                  <a:prstClr val="black"/>
                </a:solidFill>
              </a:rPr>
              <a:t> to schedule and coordinate export examinations</a:t>
            </a:r>
          </a:p>
        </p:txBody>
      </p:sp>
      <p:cxnSp>
        <p:nvCxnSpPr>
          <p:cNvPr id="62" name="Straight Connector 61"/>
          <p:cNvCxnSpPr>
            <a:cxnSpLocks/>
          </p:cNvCxnSpPr>
          <p:nvPr/>
        </p:nvCxnSpPr>
        <p:spPr bwMode="auto">
          <a:xfrm>
            <a:off x="5197248" y="3908205"/>
            <a:ext cx="3792602" cy="0"/>
          </a:xfrm>
          <a:prstGeom prst="line">
            <a:avLst/>
          </a:prstGeom>
          <a:noFill/>
          <a:ln w="9525">
            <a:solidFill>
              <a:schemeClr val="accent4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3" name="TextBox 62"/>
          <p:cNvSpPr txBox="1"/>
          <p:nvPr/>
        </p:nvSpPr>
        <p:spPr>
          <a:xfrm>
            <a:off x="5197249" y="4074193"/>
            <a:ext cx="4225046" cy="2082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429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586" lvl="1" indent="-195966" defTabSz="913429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31" lvl="2" indent="-267227" defTabSz="913429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768" lvl="3" indent="-158716" defTabSz="913429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4947" lvl="4" indent="-132804" defTabSz="913429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25000"/>
              </a:spcBef>
              <a:buClr>
                <a:srgbClr val="455F51"/>
              </a:buClr>
            </a:pPr>
            <a:r>
              <a:rPr lang="en-US" sz="1200" b="1" dirty="0">
                <a:solidFill>
                  <a:srgbClr val="029676"/>
                </a:solidFill>
              </a:rPr>
              <a:t>Entry &amp; Exit of People:</a:t>
            </a:r>
          </a:p>
          <a:p>
            <a:pPr lvl="2">
              <a:spcBef>
                <a:spcPct val="12500"/>
              </a:spcBef>
              <a:buClr>
                <a:srgbClr val="455F51"/>
              </a:buClr>
            </a:pPr>
            <a:r>
              <a:rPr lang="en-US" sz="1200" dirty="0">
                <a:solidFill>
                  <a:prstClr val="black"/>
                </a:solidFill>
              </a:rPr>
              <a:t>Eliminate manual baggage search with scanners</a:t>
            </a:r>
          </a:p>
          <a:p>
            <a:pPr lvl="2">
              <a:spcBef>
                <a:spcPct val="12500"/>
              </a:spcBef>
              <a:buClr>
                <a:srgbClr val="455F51"/>
              </a:buClr>
            </a:pPr>
            <a:r>
              <a:rPr lang="en-US" sz="1200" dirty="0">
                <a:solidFill>
                  <a:prstClr val="black"/>
                </a:solidFill>
              </a:rPr>
              <a:t>Overhaul key traveler infrastructure at Lagos airport</a:t>
            </a:r>
          </a:p>
          <a:p>
            <a:pPr lvl="1">
              <a:spcBef>
                <a:spcPct val="25000"/>
              </a:spcBef>
              <a:buClr>
                <a:srgbClr val="455F51"/>
              </a:buClr>
            </a:pPr>
            <a:r>
              <a:rPr lang="en-US" sz="1200" b="1" dirty="0">
                <a:solidFill>
                  <a:srgbClr val="029676"/>
                </a:solidFill>
              </a:rPr>
              <a:t>Starting a Business:</a:t>
            </a:r>
          </a:p>
          <a:p>
            <a:pPr lvl="2">
              <a:spcBef>
                <a:spcPct val="12500"/>
              </a:spcBef>
              <a:buClr>
                <a:srgbClr val="455F51"/>
              </a:buClr>
            </a:pPr>
            <a:r>
              <a:rPr lang="en-US" sz="1200" dirty="0">
                <a:solidFill>
                  <a:prstClr val="black"/>
                </a:solidFill>
              </a:rPr>
              <a:t>CAC lawyers to handle statutory declaration of compliance</a:t>
            </a:r>
          </a:p>
          <a:p>
            <a:pPr lvl="2">
              <a:spcBef>
                <a:spcPct val="12500"/>
              </a:spcBef>
              <a:buClr>
                <a:srgbClr val="455F51"/>
              </a:buClr>
            </a:pPr>
            <a:r>
              <a:rPr lang="en-US" sz="1200" dirty="0">
                <a:solidFill>
                  <a:prstClr val="black"/>
                </a:solidFill>
              </a:rPr>
              <a:t>Server colocation for 99% application portal uptime</a:t>
            </a:r>
          </a:p>
          <a:p>
            <a:pPr lvl="1">
              <a:spcBef>
                <a:spcPct val="25000"/>
              </a:spcBef>
              <a:buClr>
                <a:srgbClr val="455F51"/>
              </a:buClr>
            </a:pPr>
            <a:r>
              <a:rPr lang="en-US" sz="1200" b="1" dirty="0">
                <a:solidFill>
                  <a:srgbClr val="029676"/>
                </a:solidFill>
              </a:rPr>
              <a:t>Trading Across Borders:</a:t>
            </a:r>
          </a:p>
          <a:p>
            <a:pPr lvl="2">
              <a:spcBef>
                <a:spcPct val="12500"/>
              </a:spcBef>
              <a:buClr>
                <a:srgbClr val="455F51"/>
              </a:buClr>
            </a:pPr>
            <a:r>
              <a:rPr lang="en-US" sz="1200" dirty="0">
                <a:solidFill>
                  <a:prstClr val="black"/>
                </a:solidFill>
              </a:rPr>
              <a:t>Reduce documentation required for import/export</a:t>
            </a:r>
          </a:p>
          <a:p>
            <a:pPr lvl="2">
              <a:spcBef>
                <a:spcPct val="12500"/>
              </a:spcBef>
              <a:buClr>
                <a:srgbClr val="455F51"/>
              </a:buClr>
            </a:pPr>
            <a:r>
              <a:rPr lang="en-US" sz="1200" dirty="0">
                <a:solidFill>
                  <a:prstClr val="black"/>
                </a:solidFill>
              </a:rPr>
              <a:t>Optimize pre-shipment process for exports</a:t>
            </a:r>
          </a:p>
        </p:txBody>
      </p:sp>
      <p:sp>
        <p:nvSpPr>
          <p:cNvPr id="71" name="TextBox 70"/>
          <p:cNvSpPr txBox="1">
            <a:spLocks/>
          </p:cNvSpPr>
          <p:nvPr/>
        </p:nvSpPr>
        <p:spPr>
          <a:xfrm>
            <a:off x="5197248" y="3672616"/>
            <a:ext cx="3792602" cy="2068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18288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indent="-195987" defTabSz="913526" eaLnBrk="1" hangingPunct="1">
              <a:buClr>
                <a:schemeClr val="accent3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indent="-267255" defTabSz="913526" eaLnBrk="1" hangingPunct="1">
              <a:buClr>
                <a:schemeClr val="accent3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indent="-158733" defTabSz="913526" eaLnBrk="1" hangingPunct="1">
              <a:buClr>
                <a:schemeClr val="accent3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indent="-132818" defTabSz="913526" eaLnBrk="1" hangingPunct="1">
              <a:buClr>
                <a:schemeClr val="accent3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777777"/>
              </a:buClr>
            </a:pPr>
            <a:r>
              <a:rPr lang="en-US" sz="1200" b="1" dirty="0">
                <a:solidFill>
                  <a:srgbClr val="029676"/>
                </a:solidFill>
              </a:rPr>
              <a:t>Ongoing / Areas for engagement</a:t>
            </a:r>
          </a:p>
        </p:txBody>
      </p:sp>
    </p:spTree>
    <p:extLst>
      <p:ext uri="{BB962C8B-B14F-4D97-AF65-F5344CB8AC3E}">
        <p14:creationId xmlns:p14="http://schemas.microsoft.com/office/powerpoint/2010/main" val="33836430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/>
            </a:r>
            <a:br>
              <a:rPr lang="en-GB" dirty="0" smtClean="0"/>
            </a:br>
            <a:r>
              <a:rPr lang="en-GB" dirty="0" smtClean="0"/>
              <a:t>The </a:t>
            </a:r>
            <a:r>
              <a:rPr lang="en-GB" dirty="0"/>
              <a:t>Economic Recovery and Growth Plan is organized around 5 thematic areas and builds on the 2016 Strategic Implementation Plan </a:t>
            </a:r>
            <a:r>
              <a:rPr lang="en-ZA" dirty="0"/>
              <a:t/>
            </a:r>
            <a:br>
              <a:rPr lang="en-ZA" dirty="0"/>
            </a:br>
            <a:r>
              <a:rPr lang="en-GB" dirty="0" smtClean="0"/>
              <a:t>		</a:t>
            </a:r>
            <a:endParaRPr lang="en-GB" dirty="0"/>
          </a:p>
        </p:txBody>
      </p:sp>
      <p:grpSp>
        <p:nvGrpSpPr>
          <p:cNvPr id="4" name="Group 3"/>
          <p:cNvGrpSpPr/>
          <p:nvPr/>
        </p:nvGrpSpPr>
        <p:grpSpPr>
          <a:xfrm>
            <a:off x="328215" y="1036268"/>
            <a:ext cx="9141462" cy="5351723"/>
            <a:chOff x="328215" y="1105783"/>
            <a:chExt cx="8185528" cy="5351723"/>
          </a:xfrm>
        </p:grpSpPr>
        <p:sp>
          <p:nvSpPr>
            <p:cNvPr id="5" name="Rectangle 105"/>
            <p:cNvSpPr txBox="1">
              <a:spLocks/>
            </p:cNvSpPr>
            <p:nvPr/>
          </p:nvSpPr>
          <p:spPr>
            <a:xfrm>
              <a:off x="328215" y="1105783"/>
              <a:ext cx="8185528" cy="5351723"/>
            </a:xfrm>
            <a:prstGeom prst="rect">
              <a:avLst/>
            </a:pr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>
              <a:outerShdw blurRad="63500" dist="12700" dir="5400000" algn="t" rotWithShape="0">
                <a:srgbClr val="000000">
                  <a:lumMod val="75000"/>
                  <a:lumOff val="25000"/>
                  <a:alpha val="40000"/>
                </a:srgbClr>
              </a:outerShdw>
            </a:effectLst>
          </p:spPr>
          <p:txBody>
            <a:bodyPr wrap="none" anchor="ctr">
              <a:noAutofit/>
            </a:bodyPr>
            <a:lstStyle>
              <a:defPPr>
                <a:defRPr lang="en-US"/>
              </a:defPPr>
              <a:lvl1pPr>
                <a:defRPr>
                  <a:solidFill>
                    <a:srgbClr val="000000"/>
                  </a:solidFill>
                  <a:latin typeface="+mn-lt"/>
                  <a:cs typeface="Arial" charset="0"/>
                </a:defRPr>
              </a:lvl1pPr>
            </a:lstStyle>
            <a:p>
              <a:pPr marL="0" marR="0" lvl="1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7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grpSp>
          <p:nvGrpSpPr>
            <p:cNvPr id="6" name="Group 5"/>
            <p:cNvGrpSpPr/>
            <p:nvPr/>
          </p:nvGrpSpPr>
          <p:grpSpPr>
            <a:xfrm>
              <a:off x="3273353" y="1141778"/>
              <a:ext cx="5173317" cy="5173317"/>
              <a:chOff x="2102645" y="1440439"/>
              <a:chExt cx="4937125" cy="4937125"/>
            </a:xfrm>
          </p:grpSpPr>
          <p:sp>
            <p:nvSpPr>
              <p:cNvPr id="25" name="Freeform 758"/>
              <p:cNvSpPr>
                <a:spLocks/>
              </p:cNvSpPr>
              <p:nvPr/>
            </p:nvSpPr>
            <p:spPr bwMode="auto">
              <a:xfrm>
                <a:off x="4570486" y="1913803"/>
                <a:ext cx="2469284" cy="2757921"/>
              </a:xfrm>
              <a:custGeom>
                <a:avLst/>
                <a:gdLst>
                  <a:gd name="T0" fmla="*/ 1005 w 1711"/>
                  <a:gd name="T1" fmla="*/ 0 h 1911"/>
                  <a:gd name="T2" fmla="*/ 1089 w 1711"/>
                  <a:gd name="T3" fmla="*/ 64 h 1911"/>
                  <a:gd name="T4" fmla="*/ 1169 w 1711"/>
                  <a:gd name="T5" fmla="*/ 133 h 1911"/>
                  <a:gd name="T6" fmla="*/ 1242 w 1711"/>
                  <a:gd name="T7" fmla="*/ 206 h 1911"/>
                  <a:gd name="T8" fmla="*/ 1310 w 1711"/>
                  <a:gd name="T9" fmla="*/ 284 h 1911"/>
                  <a:gd name="T10" fmla="*/ 1374 w 1711"/>
                  <a:gd name="T11" fmla="*/ 364 h 1911"/>
                  <a:gd name="T12" fmla="*/ 1432 w 1711"/>
                  <a:gd name="T13" fmla="*/ 447 h 1911"/>
                  <a:gd name="T14" fmla="*/ 1486 w 1711"/>
                  <a:gd name="T15" fmla="*/ 534 h 1911"/>
                  <a:gd name="T16" fmla="*/ 1533 w 1711"/>
                  <a:gd name="T17" fmla="*/ 624 h 1911"/>
                  <a:gd name="T18" fmla="*/ 1575 w 1711"/>
                  <a:gd name="T19" fmla="*/ 716 h 1911"/>
                  <a:gd name="T20" fmla="*/ 1611 w 1711"/>
                  <a:gd name="T21" fmla="*/ 810 h 1911"/>
                  <a:gd name="T22" fmla="*/ 1643 w 1711"/>
                  <a:gd name="T23" fmla="*/ 905 h 1911"/>
                  <a:gd name="T24" fmla="*/ 1667 w 1711"/>
                  <a:gd name="T25" fmla="*/ 1004 h 1911"/>
                  <a:gd name="T26" fmla="*/ 1687 w 1711"/>
                  <a:gd name="T27" fmla="*/ 1103 h 1911"/>
                  <a:gd name="T28" fmla="*/ 1700 w 1711"/>
                  <a:gd name="T29" fmla="*/ 1203 h 1911"/>
                  <a:gd name="T30" fmla="*/ 1708 w 1711"/>
                  <a:gd name="T31" fmla="*/ 1303 h 1911"/>
                  <a:gd name="T32" fmla="*/ 1711 w 1711"/>
                  <a:gd name="T33" fmla="*/ 1406 h 1911"/>
                  <a:gd name="T34" fmla="*/ 1705 w 1711"/>
                  <a:gd name="T35" fmla="*/ 1506 h 1911"/>
                  <a:gd name="T36" fmla="*/ 1696 w 1711"/>
                  <a:gd name="T37" fmla="*/ 1608 h 1911"/>
                  <a:gd name="T38" fmla="*/ 1679 w 1711"/>
                  <a:gd name="T39" fmla="*/ 1709 h 1911"/>
                  <a:gd name="T40" fmla="*/ 1656 w 1711"/>
                  <a:gd name="T41" fmla="*/ 1811 h 1911"/>
                  <a:gd name="T42" fmla="*/ 1627 w 1711"/>
                  <a:gd name="T43" fmla="*/ 1911 h 1911"/>
                  <a:gd name="T44" fmla="*/ 0 w 1711"/>
                  <a:gd name="T45" fmla="*/ 1382 h 1911"/>
                  <a:gd name="T46" fmla="*/ 1005 w 1711"/>
                  <a:gd name="T47" fmla="*/ 0 h 19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711" h="1911">
                    <a:moveTo>
                      <a:pt x="1005" y="0"/>
                    </a:moveTo>
                    <a:lnTo>
                      <a:pt x="1089" y="64"/>
                    </a:lnTo>
                    <a:lnTo>
                      <a:pt x="1169" y="133"/>
                    </a:lnTo>
                    <a:lnTo>
                      <a:pt x="1242" y="206"/>
                    </a:lnTo>
                    <a:lnTo>
                      <a:pt x="1310" y="284"/>
                    </a:lnTo>
                    <a:lnTo>
                      <a:pt x="1374" y="364"/>
                    </a:lnTo>
                    <a:lnTo>
                      <a:pt x="1432" y="447"/>
                    </a:lnTo>
                    <a:lnTo>
                      <a:pt x="1486" y="534"/>
                    </a:lnTo>
                    <a:lnTo>
                      <a:pt x="1533" y="624"/>
                    </a:lnTo>
                    <a:lnTo>
                      <a:pt x="1575" y="716"/>
                    </a:lnTo>
                    <a:lnTo>
                      <a:pt x="1611" y="810"/>
                    </a:lnTo>
                    <a:lnTo>
                      <a:pt x="1643" y="905"/>
                    </a:lnTo>
                    <a:lnTo>
                      <a:pt x="1667" y="1004"/>
                    </a:lnTo>
                    <a:lnTo>
                      <a:pt x="1687" y="1103"/>
                    </a:lnTo>
                    <a:lnTo>
                      <a:pt x="1700" y="1203"/>
                    </a:lnTo>
                    <a:lnTo>
                      <a:pt x="1708" y="1303"/>
                    </a:lnTo>
                    <a:lnTo>
                      <a:pt x="1711" y="1406"/>
                    </a:lnTo>
                    <a:lnTo>
                      <a:pt x="1705" y="1506"/>
                    </a:lnTo>
                    <a:lnTo>
                      <a:pt x="1696" y="1608"/>
                    </a:lnTo>
                    <a:lnTo>
                      <a:pt x="1679" y="1709"/>
                    </a:lnTo>
                    <a:lnTo>
                      <a:pt x="1656" y="1811"/>
                    </a:lnTo>
                    <a:lnTo>
                      <a:pt x="1627" y="1911"/>
                    </a:lnTo>
                    <a:lnTo>
                      <a:pt x="0" y="1382"/>
                    </a:lnTo>
                    <a:lnTo>
                      <a:pt x="1005" y="0"/>
                    </a:lnTo>
                    <a:close/>
                  </a:path>
                </a:pathLst>
              </a:custGeom>
              <a:solidFill>
                <a:srgbClr val="C7E5A9"/>
              </a:solidFill>
              <a:ln w="28575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9614" tIns="44807" rIns="89614" bIns="4480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7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" name="Freeform 809"/>
              <p:cNvSpPr>
                <a:spLocks/>
              </p:cNvSpPr>
              <p:nvPr/>
            </p:nvSpPr>
            <p:spPr bwMode="auto">
              <a:xfrm>
                <a:off x="4570486" y="3908280"/>
                <a:ext cx="2348057" cy="2469284"/>
              </a:xfrm>
              <a:custGeom>
                <a:avLst/>
                <a:gdLst>
                  <a:gd name="T0" fmla="*/ 0 w 1627"/>
                  <a:gd name="T1" fmla="*/ 0 h 1711"/>
                  <a:gd name="T2" fmla="*/ 1627 w 1627"/>
                  <a:gd name="T3" fmla="*/ 529 h 1711"/>
                  <a:gd name="T4" fmla="*/ 1589 w 1627"/>
                  <a:gd name="T5" fmla="*/ 634 h 1711"/>
                  <a:gd name="T6" fmla="*/ 1546 w 1627"/>
                  <a:gd name="T7" fmla="*/ 734 h 1711"/>
                  <a:gd name="T8" fmla="*/ 1495 w 1627"/>
                  <a:gd name="T9" fmla="*/ 831 h 1711"/>
                  <a:gd name="T10" fmla="*/ 1440 w 1627"/>
                  <a:gd name="T11" fmla="*/ 924 h 1711"/>
                  <a:gd name="T12" fmla="*/ 1378 w 1627"/>
                  <a:gd name="T13" fmla="*/ 1013 h 1711"/>
                  <a:gd name="T14" fmla="*/ 1313 w 1627"/>
                  <a:gd name="T15" fmla="*/ 1097 h 1711"/>
                  <a:gd name="T16" fmla="*/ 1242 w 1627"/>
                  <a:gd name="T17" fmla="*/ 1177 h 1711"/>
                  <a:gd name="T18" fmla="*/ 1166 w 1627"/>
                  <a:gd name="T19" fmla="*/ 1251 h 1711"/>
                  <a:gd name="T20" fmla="*/ 1086 w 1627"/>
                  <a:gd name="T21" fmla="*/ 1321 h 1711"/>
                  <a:gd name="T22" fmla="*/ 1002 w 1627"/>
                  <a:gd name="T23" fmla="*/ 1386 h 1711"/>
                  <a:gd name="T24" fmla="*/ 915 w 1627"/>
                  <a:gd name="T25" fmla="*/ 1445 h 1711"/>
                  <a:gd name="T26" fmla="*/ 823 w 1627"/>
                  <a:gd name="T27" fmla="*/ 1499 h 1711"/>
                  <a:gd name="T28" fmla="*/ 729 w 1627"/>
                  <a:gd name="T29" fmla="*/ 1547 h 1711"/>
                  <a:gd name="T30" fmla="*/ 632 w 1627"/>
                  <a:gd name="T31" fmla="*/ 1589 h 1711"/>
                  <a:gd name="T32" fmla="*/ 531 w 1627"/>
                  <a:gd name="T33" fmla="*/ 1626 h 1711"/>
                  <a:gd name="T34" fmla="*/ 429 w 1627"/>
                  <a:gd name="T35" fmla="*/ 1656 h 1711"/>
                  <a:gd name="T36" fmla="*/ 324 w 1627"/>
                  <a:gd name="T37" fmla="*/ 1680 h 1711"/>
                  <a:gd name="T38" fmla="*/ 218 w 1627"/>
                  <a:gd name="T39" fmla="*/ 1697 h 1711"/>
                  <a:gd name="T40" fmla="*/ 110 w 1627"/>
                  <a:gd name="T41" fmla="*/ 1707 h 1711"/>
                  <a:gd name="T42" fmla="*/ 0 w 1627"/>
                  <a:gd name="T43" fmla="*/ 1711 h 1711"/>
                  <a:gd name="T44" fmla="*/ 0 w 1627"/>
                  <a:gd name="T45" fmla="*/ 0 h 17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627" h="1711">
                    <a:moveTo>
                      <a:pt x="0" y="0"/>
                    </a:moveTo>
                    <a:lnTo>
                      <a:pt x="1627" y="529"/>
                    </a:lnTo>
                    <a:lnTo>
                      <a:pt x="1589" y="634"/>
                    </a:lnTo>
                    <a:lnTo>
                      <a:pt x="1546" y="734"/>
                    </a:lnTo>
                    <a:lnTo>
                      <a:pt x="1495" y="831"/>
                    </a:lnTo>
                    <a:lnTo>
                      <a:pt x="1440" y="924"/>
                    </a:lnTo>
                    <a:lnTo>
                      <a:pt x="1378" y="1013"/>
                    </a:lnTo>
                    <a:lnTo>
                      <a:pt x="1313" y="1097"/>
                    </a:lnTo>
                    <a:lnTo>
                      <a:pt x="1242" y="1177"/>
                    </a:lnTo>
                    <a:lnTo>
                      <a:pt x="1166" y="1251"/>
                    </a:lnTo>
                    <a:lnTo>
                      <a:pt x="1086" y="1321"/>
                    </a:lnTo>
                    <a:lnTo>
                      <a:pt x="1002" y="1386"/>
                    </a:lnTo>
                    <a:lnTo>
                      <a:pt x="915" y="1445"/>
                    </a:lnTo>
                    <a:lnTo>
                      <a:pt x="823" y="1499"/>
                    </a:lnTo>
                    <a:lnTo>
                      <a:pt x="729" y="1547"/>
                    </a:lnTo>
                    <a:lnTo>
                      <a:pt x="632" y="1589"/>
                    </a:lnTo>
                    <a:lnTo>
                      <a:pt x="531" y="1626"/>
                    </a:lnTo>
                    <a:lnTo>
                      <a:pt x="429" y="1656"/>
                    </a:lnTo>
                    <a:lnTo>
                      <a:pt x="324" y="1680"/>
                    </a:lnTo>
                    <a:lnTo>
                      <a:pt x="218" y="1697"/>
                    </a:lnTo>
                    <a:lnTo>
                      <a:pt x="110" y="1707"/>
                    </a:lnTo>
                    <a:lnTo>
                      <a:pt x="0" y="17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7E5A9"/>
              </a:solidFill>
              <a:ln w="28575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9614" tIns="44807" rIns="89614" bIns="4480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7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7" name="Freeform 867"/>
              <p:cNvSpPr>
                <a:spLocks/>
              </p:cNvSpPr>
              <p:nvPr/>
            </p:nvSpPr>
            <p:spPr bwMode="auto">
              <a:xfrm>
                <a:off x="2223872" y="3908280"/>
                <a:ext cx="2346613" cy="2467841"/>
              </a:xfrm>
              <a:custGeom>
                <a:avLst/>
                <a:gdLst>
                  <a:gd name="T0" fmla="*/ 1626 w 1626"/>
                  <a:gd name="T1" fmla="*/ 0 h 1710"/>
                  <a:gd name="T2" fmla="*/ 1626 w 1626"/>
                  <a:gd name="T3" fmla="*/ 1710 h 1710"/>
                  <a:gd name="T4" fmla="*/ 1516 w 1626"/>
                  <a:gd name="T5" fmla="*/ 1707 h 1710"/>
                  <a:gd name="T6" fmla="*/ 1406 w 1626"/>
                  <a:gd name="T7" fmla="*/ 1697 h 1710"/>
                  <a:gd name="T8" fmla="*/ 1298 w 1626"/>
                  <a:gd name="T9" fmla="*/ 1678 h 1710"/>
                  <a:gd name="T10" fmla="*/ 1192 w 1626"/>
                  <a:gd name="T11" fmla="*/ 1655 h 1710"/>
                  <a:gd name="T12" fmla="*/ 1089 w 1626"/>
                  <a:gd name="T13" fmla="*/ 1625 h 1710"/>
                  <a:gd name="T14" fmla="*/ 989 w 1626"/>
                  <a:gd name="T15" fmla="*/ 1587 h 1710"/>
                  <a:gd name="T16" fmla="*/ 891 w 1626"/>
                  <a:gd name="T17" fmla="*/ 1545 h 1710"/>
                  <a:gd name="T18" fmla="*/ 797 w 1626"/>
                  <a:gd name="T19" fmla="*/ 1495 h 1710"/>
                  <a:gd name="T20" fmla="*/ 705 w 1626"/>
                  <a:gd name="T21" fmla="*/ 1441 h 1710"/>
                  <a:gd name="T22" fmla="*/ 619 w 1626"/>
                  <a:gd name="T23" fmla="*/ 1381 h 1710"/>
                  <a:gd name="T24" fmla="*/ 535 w 1626"/>
                  <a:gd name="T25" fmla="*/ 1316 h 1710"/>
                  <a:gd name="T26" fmla="*/ 455 w 1626"/>
                  <a:gd name="T27" fmla="*/ 1246 h 1710"/>
                  <a:gd name="T28" fmla="*/ 381 w 1626"/>
                  <a:gd name="T29" fmla="*/ 1172 h 1710"/>
                  <a:gd name="T30" fmla="*/ 310 w 1626"/>
                  <a:gd name="T31" fmla="*/ 1092 h 1710"/>
                  <a:gd name="T32" fmla="*/ 245 w 1626"/>
                  <a:gd name="T33" fmla="*/ 1008 h 1710"/>
                  <a:gd name="T34" fmla="*/ 184 w 1626"/>
                  <a:gd name="T35" fmla="*/ 919 h 1710"/>
                  <a:gd name="T36" fmla="*/ 129 w 1626"/>
                  <a:gd name="T37" fmla="*/ 827 h 1710"/>
                  <a:gd name="T38" fmla="*/ 81 w 1626"/>
                  <a:gd name="T39" fmla="*/ 732 h 1710"/>
                  <a:gd name="T40" fmla="*/ 38 w 1626"/>
                  <a:gd name="T41" fmla="*/ 632 h 1710"/>
                  <a:gd name="T42" fmla="*/ 0 w 1626"/>
                  <a:gd name="T43" fmla="*/ 529 h 1710"/>
                  <a:gd name="T44" fmla="*/ 1626 w 1626"/>
                  <a:gd name="T45" fmla="*/ 0 h 17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626" h="1710">
                    <a:moveTo>
                      <a:pt x="1626" y="0"/>
                    </a:moveTo>
                    <a:lnTo>
                      <a:pt x="1626" y="1710"/>
                    </a:lnTo>
                    <a:lnTo>
                      <a:pt x="1516" y="1707"/>
                    </a:lnTo>
                    <a:lnTo>
                      <a:pt x="1406" y="1697"/>
                    </a:lnTo>
                    <a:lnTo>
                      <a:pt x="1298" y="1678"/>
                    </a:lnTo>
                    <a:lnTo>
                      <a:pt x="1192" y="1655"/>
                    </a:lnTo>
                    <a:lnTo>
                      <a:pt x="1089" y="1625"/>
                    </a:lnTo>
                    <a:lnTo>
                      <a:pt x="989" y="1587"/>
                    </a:lnTo>
                    <a:lnTo>
                      <a:pt x="891" y="1545"/>
                    </a:lnTo>
                    <a:lnTo>
                      <a:pt x="797" y="1495"/>
                    </a:lnTo>
                    <a:lnTo>
                      <a:pt x="705" y="1441"/>
                    </a:lnTo>
                    <a:lnTo>
                      <a:pt x="619" y="1381"/>
                    </a:lnTo>
                    <a:lnTo>
                      <a:pt x="535" y="1316"/>
                    </a:lnTo>
                    <a:lnTo>
                      <a:pt x="455" y="1246"/>
                    </a:lnTo>
                    <a:lnTo>
                      <a:pt x="381" y="1172"/>
                    </a:lnTo>
                    <a:lnTo>
                      <a:pt x="310" y="1092"/>
                    </a:lnTo>
                    <a:lnTo>
                      <a:pt x="245" y="1008"/>
                    </a:lnTo>
                    <a:lnTo>
                      <a:pt x="184" y="919"/>
                    </a:lnTo>
                    <a:lnTo>
                      <a:pt x="129" y="827"/>
                    </a:lnTo>
                    <a:lnTo>
                      <a:pt x="81" y="732"/>
                    </a:lnTo>
                    <a:lnTo>
                      <a:pt x="38" y="632"/>
                    </a:lnTo>
                    <a:lnTo>
                      <a:pt x="0" y="529"/>
                    </a:lnTo>
                    <a:lnTo>
                      <a:pt x="1626" y="0"/>
                    </a:lnTo>
                    <a:close/>
                  </a:path>
                </a:pathLst>
              </a:custGeom>
              <a:solidFill>
                <a:srgbClr val="C7E5A9"/>
              </a:solidFill>
              <a:ln w="28575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9614" tIns="44807" rIns="89614" bIns="4480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7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8" name="Freeform 914"/>
              <p:cNvSpPr>
                <a:spLocks/>
              </p:cNvSpPr>
              <p:nvPr/>
            </p:nvSpPr>
            <p:spPr bwMode="auto">
              <a:xfrm>
                <a:off x="2102645" y="1910916"/>
                <a:ext cx="2467841" cy="2760807"/>
              </a:xfrm>
              <a:custGeom>
                <a:avLst/>
                <a:gdLst>
                  <a:gd name="T0" fmla="*/ 706 w 1710"/>
                  <a:gd name="T1" fmla="*/ 0 h 1913"/>
                  <a:gd name="T2" fmla="*/ 1710 w 1710"/>
                  <a:gd name="T3" fmla="*/ 1384 h 1913"/>
                  <a:gd name="T4" fmla="*/ 84 w 1710"/>
                  <a:gd name="T5" fmla="*/ 1913 h 1913"/>
                  <a:gd name="T6" fmla="*/ 54 w 1710"/>
                  <a:gd name="T7" fmla="*/ 1806 h 1913"/>
                  <a:gd name="T8" fmla="*/ 30 w 1710"/>
                  <a:gd name="T9" fmla="*/ 1698 h 1913"/>
                  <a:gd name="T10" fmla="*/ 13 w 1710"/>
                  <a:gd name="T11" fmla="*/ 1591 h 1913"/>
                  <a:gd name="T12" fmla="*/ 3 w 1710"/>
                  <a:gd name="T13" fmla="*/ 1483 h 1913"/>
                  <a:gd name="T14" fmla="*/ 0 w 1710"/>
                  <a:gd name="T15" fmla="*/ 1375 h 1913"/>
                  <a:gd name="T16" fmla="*/ 4 w 1710"/>
                  <a:gd name="T17" fmla="*/ 1269 h 1913"/>
                  <a:gd name="T18" fmla="*/ 14 w 1710"/>
                  <a:gd name="T19" fmla="*/ 1163 h 1913"/>
                  <a:gd name="T20" fmla="*/ 33 w 1710"/>
                  <a:gd name="T21" fmla="*/ 1058 h 1913"/>
                  <a:gd name="T22" fmla="*/ 56 w 1710"/>
                  <a:gd name="T23" fmla="*/ 955 h 1913"/>
                  <a:gd name="T24" fmla="*/ 85 w 1710"/>
                  <a:gd name="T25" fmla="*/ 853 h 1913"/>
                  <a:gd name="T26" fmla="*/ 122 w 1710"/>
                  <a:gd name="T27" fmla="*/ 753 h 1913"/>
                  <a:gd name="T28" fmla="*/ 164 w 1710"/>
                  <a:gd name="T29" fmla="*/ 656 h 1913"/>
                  <a:gd name="T30" fmla="*/ 212 w 1710"/>
                  <a:gd name="T31" fmla="*/ 561 h 1913"/>
                  <a:gd name="T32" fmla="*/ 266 w 1710"/>
                  <a:gd name="T33" fmla="*/ 469 h 1913"/>
                  <a:gd name="T34" fmla="*/ 326 w 1710"/>
                  <a:gd name="T35" fmla="*/ 381 h 1913"/>
                  <a:gd name="T36" fmla="*/ 390 w 1710"/>
                  <a:gd name="T37" fmla="*/ 297 h 1913"/>
                  <a:gd name="T38" fmla="*/ 462 w 1710"/>
                  <a:gd name="T39" fmla="*/ 216 h 1913"/>
                  <a:gd name="T40" fmla="*/ 538 w 1710"/>
                  <a:gd name="T41" fmla="*/ 140 h 1913"/>
                  <a:gd name="T42" fmla="*/ 619 w 1710"/>
                  <a:gd name="T43" fmla="*/ 68 h 1913"/>
                  <a:gd name="T44" fmla="*/ 706 w 1710"/>
                  <a:gd name="T45" fmla="*/ 0 h 19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710" h="1913">
                    <a:moveTo>
                      <a:pt x="706" y="0"/>
                    </a:moveTo>
                    <a:lnTo>
                      <a:pt x="1710" y="1384"/>
                    </a:lnTo>
                    <a:lnTo>
                      <a:pt x="84" y="1913"/>
                    </a:lnTo>
                    <a:lnTo>
                      <a:pt x="54" y="1806"/>
                    </a:lnTo>
                    <a:lnTo>
                      <a:pt x="30" y="1698"/>
                    </a:lnTo>
                    <a:lnTo>
                      <a:pt x="13" y="1591"/>
                    </a:lnTo>
                    <a:lnTo>
                      <a:pt x="3" y="1483"/>
                    </a:lnTo>
                    <a:lnTo>
                      <a:pt x="0" y="1375"/>
                    </a:lnTo>
                    <a:lnTo>
                      <a:pt x="4" y="1269"/>
                    </a:lnTo>
                    <a:lnTo>
                      <a:pt x="14" y="1163"/>
                    </a:lnTo>
                    <a:lnTo>
                      <a:pt x="33" y="1058"/>
                    </a:lnTo>
                    <a:lnTo>
                      <a:pt x="56" y="955"/>
                    </a:lnTo>
                    <a:lnTo>
                      <a:pt x="85" y="853"/>
                    </a:lnTo>
                    <a:lnTo>
                      <a:pt x="122" y="753"/>
                    </a:lnTo>
                    <a:lnTo>
                      <a:pt x="164" y="656"/>
                    </a:lnTo>
                    <a:lnTo>
                      <a:pt x="212" y="561"/>
                    </a:lnTo>
                    <a:lnTo>
                      <a:pt x="266" y="469"/>
                    </a:lnTo>
                    <a:lnTo>
                      <a:pt x="326" y="381"/>
                    </a:lnTo>
                    <a:lnTo>
                      <a:pt x="390" y="297"/>
                    </a:lnTo>
                    <a:lnTo>
                      <a:pt x="462" y="216"/>
                    </a:lnTo>
                    <a:lnTo>
                      <a:pt x="538" y="140"/>
                    </a:lnTo>
                    <a:lnTo>
                      <a:pt x="619" y="68"/>
                    </a:lnTo>
                    <a:lnTo>
                      <a:pt x="706" y="0"/>
                    </a:lnTo>
                    <a:close/>
                  </a:path>
                </a:pathLst>
              </a:custGeom>
              <a:solidFill>
                <a:srgbClr val="C7E5A9"/>
              </a:solidFill>
              <a:ln w="28575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9614" tIns="44807" rIns="89614" bIns="4480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7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" name="Freeform 961"/>
              <p:cNvSpPr>
                <a:spLocks/>
              </p:cNvSpPr>
              <p:nvPr/>
            </p:nvSpPr>
            <p:spPr bwMode="auto">
              <a:xfrm>
                <a:off x="3121531" y="1440439"/>
                <a:ext cx="2899352" cy="2467841"/>
              </a:xfrm>
              <a:custGeom>
                <a:avLst/>
                <a:gdLst>
                  <a:gd name="T0" fmla="*/ 1009 w 2009"/>
                  <a:gd name="T1" fmla="*/ 0 h 1710"/>
                  <a:gd name="T2" fmla="*/ 1114 w 2009"/>
                  <a:gd name="T3" fmla="*/ 4 h 1710"/>
                  <a:gd name="T4" fmla="*/ 1220 w 2009"/>
                  <a:gd name="T5" fmla="*/ 15 h 1710"/>
                  <a:gd name="T6" fmla="*/ 1324 w 2009"/>
                  <a:gd name="T7" fmla="*/ 30 h 1710"/>
                  <a:gd name="T8" fmla="*/ 1428 w 2009"/>
                  <a:gd name="T9" fmla="*/ 54 h 1710"/>
                  <a:gd name="T10" fmla="*/ 1530 w 2009"/>
                  <a:gd name="T11" fmla="*/ 83 h 1710"/>
                  <a:gd name="T12" fmla="*/ 1631 w 2009"/>
                  <a:gd name="T13" fmla="*/ 119 h 1710"/>
                  <a:gd name="T14" fmla="*/ 1729 w 2009"/>
                  <a:gd name="T15" fmla="*/ 161 h 1710"/>
                  <a:gd name="T16" fmla="*/ 1826 w 2009"/>
                  <a:gd name="T17" fmla="*/ 210 h 1710"/>
                  <a:gd name="T18" fmla="*/ 1919 w 2009"/>
                  <a:gd name="T19" fmla="*/ 265 h 1710"/>
                  <a:gd name="T20" fmla="*/ 2009 w 2009"/>
                  <a:gd name="T21" fmla="*/ 326 h 1710"/>
                  <a:gd name="T22" fmla="*/ 1004 w 2009"/>
                  <a:gd name="T23" fmla="*/ 1710 h 1710"/>
                  <a:gd name="T24" fmla="*/ 0 w 2009"/>
                  <a:gd name="T25" fmla="*/ 328 h 1710"/>
                  <a:gd name="T26" fmla="*/ 91 w 2009"/>
                  <a:gd name="T27" fmla="*/ 265 h 1710"/>
                  <a:gd name="T28" fmla="*/ 187 w 2009"/>
                  <a:gd name="T29" fmla="*/ 208 h 1710"/>
                  <a:gd name="T30" fmla="*/ 284 w 2009"/>
                  <a:gd name="T31" fmla="*/ 160 h 1710"/>
                  <a:gd name="T32" fmla="*/ 383 w 2009"/>
                  <a:gd name="T33" fmla="*/ 117 h 1710"/>
                  <a:gd name="T34" fmla="*/ 484 w 2009"/>
                  <a:gd name="T35" fmla="*/ 81 h 1710"/>
                  <a:gd name="T36" fmla="*/ 587 w 2009"/>
                  <a:gd name="T37" fmla="*/ 51 h 1710"/>
                  <a:gd name="T38" fmla="*/ 692 w 2009"/>
                  <a:gd name="T39" fmla="*/ 29 h 1710"/>
                  <a:gd name="T40" fmla="*/ 797 w 2009"/>
                  <a:gd name="T41" fmla="*/ 13 h 1710"/>
                  <a:gd name="T42" fmla="*/ 903 w 2009"/>
                  <a:gd name="T43" fmla="*/ 4 h 1710"/>
                  <a:gd name="T44" fmla="*/ 1009 w 2009"/>
                  <a:gd name="T45" fmla="*/ 0 h 17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009" h="1710">
                    <a:moveTo>
                      <a:pt x="1009" y="0"/>
                    </a:moveTo>
                    <a:lnTo>
                      <a:pt x="1114" y="4"/>
                    </a:lnTo>
                    <a:lnTo>
                      <a:pt x="1220" y="15"/>
                    </a:lnTo>
                    <a:lnTo>
                      <a:pt x="1324" y="30"/>
                    </a:lnTo>
                    <a:lnTo>
                      <a:pt x="1428" y="54"/>
                    </a:lnTo>
                    <a:lnTo>
                      <a:pt x="1530" y="83"/>
                    </a:lnTo>
                    <a:lnTo>
                      <a:pt x="1631" y="119"/>
                    </a:lnTo>
                    <a:lnTo>
                      <a:pt x="1729" y="161"/>
                    </a:lnTo>
                    <a:lnTo>
                      <a:pt x="1826" y="210"/>
                    </a:lnTo>
                    <a:lnTo>
                      <a:pt x="1919" y="265"/>
                    </a:lnTo>
                    <a:lnTo>
                      <a:pt x="2009" y="326"/>
                    </a:lnTo>
                    <a:lnTo>
                      <a:pt x="1004" y="1710"/>
                    </a:lnTo>
                    <a:lnTo>
                      <a:pt x="0" y="328"/>
                    </a:lnTo>
                    <a:lnTo>
                      <a:pt x="91" y="265"/>
                    </a:lnTo>
                    <a:lnTo>
                      <a:pt x="187" y="208"/>
                    </a:lnTo>
                    <a:lnTo>
                      <a:pt x="284" y="160"/>
                    </a:lnTo>
                    <a:lnTo>
                      <a:pt x="383" y="117"/>
                    </a:lnTo>
                    <a:lnTo>
                      <a:pt x="484" y="81"/>
                    </a:lnTo>
                    <a:lnTo>
                      <a:pt x="587" y="51"/>
                    </a:lnTo>
                    <a:lnTo>
                      <a:pt x="692" y="29"/>
                    </a:lnTo>
                    <a:lnTo>
                      <a:pt x="797" y="13"/>
                    </a:lnTo>
                    <a:lnTo>
                      <a:pt x="903" y="4"/>
                    </a:lnTo>
                    <a:lnTo>
                      <a:pt x="1009" y="0"/>
                    </a:lnTo>
                    <a:close/>
                  </a:path>
                </a:pathLst>
              </a:custGeom>
              <a:gradFill>
                <a:gsLst>
                  <a:gs pos="0">
                    <a:srgbClr val="C7E5A9">
                      <a:lumMod val="75000"/>
                    </a:srgbClr>
                  </a:gs>
                  <a:gs pos="50000">
                    <a:srgbClr val="C7E5A9"/>
                  </a:gs>
                  <a:gs pos="100000">
                    <a:srgbClr val="C7E5A9">
                      <a:lumMod val="60000"/>
                      <a:lumOff val="40000"/>
                    </a:srgbClr>
                  </a:gs>
                </a:gsLst>
                <a:lin ang="16200000" scaled="1"/>
              </a:gradFill>
              <a:ln w="28575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9614" tIns="44807" rIns="89614" bIns="4480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7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7" name="Regular Pentagon 6"/>
            <p:cNvSpPr/>
            <p:nvPr/>
          </p:nvSpPr>
          <p:spPr>
            <a:xfrm>
              <a:off x="4920158" y="2763301"/>
              <a:ext cx="1798998" cy="1713332"/>
            </a:xfrm>
            <a:prstGeom prst="pentagon">
              <a:avLst/>
            </a:prstGeom>
            <a:solidFill>
              <a:srgbClr val="044823"/>
            </a:solidFill>
            <a:ln w="38100" cap="flat" cmpd="sng" algn="ctr">
              <a:solidFill>
                <a:srgbClr val="C7E5A9"/>
              </a:solidFill>
              <a:prstDash val="solid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7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" name="Oval 7"/>
            <p:cNvSpPr/>
            <p:nvPr/>
          </p:nvSpPr>
          <p:spPr>
            <a:xfrm>
              <a:off x="5082479" y="2988681"/>
              <a:ext cx="1474354" cy="1474354"/>
            </a:xfrm>
            <a:prstGeom prst="ellipse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17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ational Economic Recovery Plan</a:t>
              </a: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5085947" y="1390902"/>
              <a:ext cx="1633209" cy="10802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429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586" lvl="1" indent="-195966" defTabSz="913429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31" lvl="2" indent="-267227" defTabSz="913429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768" lvl="3" indent="-158716" defTabSz="913429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4947" lvl="4" indent="-132804" defTabSz="913429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defTabSz="91342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44823"/>
                </a:buClr>
                <a:buSzTx/>
                <a:buFontTx/>
                <a:buNone/>
                <a:tabLst/>
                <a:defRPr/>
              </a:pPr>
              <a:r>
                <a:rPr kumimoji="0" lang="fr-FR" sz="1170" b="1" i="0" u="none" strike="noStrike" kern="0" cap="none" spc="0" normalizeH="0" baseline="0" noProof="0" dirty="0">
                  <a:ln>
                    <a:noFill/>
                  </a:ln>
                  <a:solidFill>
                    <a:srgbClr val="044823"/>
                  </a:solidFill>
                  <a:effectLst/>
                  <a:uLnTx/>
                  <a:uFillTx/>
                  <a:latin typeface="Arial"/>
                </a:rPr>
                <a:t>Macro policies</a:t>
              </a:r>
            </a:p>
            <a:p>
              <a:pPr marL="168021" marR="0" lvl="0" indent="-168021" defTabSz="91342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44823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fr-FR" sz="117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  <a:t>Revenue enhancement</a:t>
              </a:r>
            </a:p>
            <a:p>
              <a:pPr marL="168021" marR="0" lvl="0" indent="-168021" defTabSz="91342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44823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fr-FR" sz="117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  <a:t>Cost optimization</a:t>
              </a:r>
            </a:p>
            <a:p>
              <a:pPr marL="168021" marR="0" lvl="0" indent="-168021" defTabSz="91342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44823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fr-FR" sz="117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  <a:t>Monetary policy and banking system</a:t>
              </a: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6929578" y="2432397"/>
              <a:ext cx="1222771" cy="9002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429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586" lvl="1" indent="-195966" defTabSz="913429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31" lvl="2" indent="-267227" defTabSz="913429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768" lvl="3" indent="-158716" defTabSz="913429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4947" lvl="4" indent="-132804" defTabSz="913429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defTabSz="91342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44823"/>
                </a:buClr>
                <a:buSzTx/>
                <a:buFontTx/>
                <a:buNone/>
                <a:tabLst/>
                <a:defRPr/>
              </a:pPr>
              <a:r>
                <a:rPr kumimoji="0" lang="fr-FR" sz="1170" b="1" i="0" u="none" strike="noStrike" kern="0" cap="none" spc="0" normalizeH="0" baseline="0" noProof="0" dirty="0">
                  <a:ln>
                    <a:noFill/>
                  </a:ln>
                  <a:solidFill>
                    <a:srgbClr val="044823"/>
                  </a:solidFill>
                  <a:effectLst/>
                  <a:uLnTx/>
                  <a:uFillTx/>
                  <a:latin typeface="Arial"/>
                </a:rPr>
                <a:t>Growth drivers</a:t>
              </a:r>
            </a:p>
            <a:p>
              <a:pPr marL="168021" marR="0" lvl="0" indent="-168021" defTabSz="91342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44823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fr-FR" sz="117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  <a:t>Agriculture</a:t>
              </a:r>
            </a:p>
            <a:p>
              <a:pPr marL="168021" marR="0" lvl="0" indent="-168021" defTabSz="91342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44823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fr-FR" sz="117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  <a:t>Manufacturing</a:t>
              </a:r>
            </a:p>
            <a:p>
              <a:pPr marL="168021" marR="0" lvl="0" indent="-168021" defTabSz="91342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44823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fr-FR" sz="117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  <a:t>Solid minerals</a:t>
              </a:r>
            </a:p>
            <a:p>
              <a:pPr marL="168021" marR="0" lvl="0" indent="-168021" defTabSz="91342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44823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fr-FR" sz="117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  <a:t>Services</a:t>
              </a: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6035395" y="4626257"/>
              <a:ext cx="1505438" cy="10802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429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586" lvl="1" indent="-195966" defTabSz="913429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31" lvl="2" indent="-267227" defTabSz="913429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768" lvl="3" indent="-158716" defTabSz="913429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4947" lvl="4" indent="-132804" defTabSz="913429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defTabSz="91342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44823"/>
                </a:buClr>
                <a:buSzTx/>
                <a:buFontTx/>
                <a:buNone/>
                <a:tabLst/>
                <a:defRPr/>
              </a:pPr>
              <a:r>
                <a:rPr kumimoji="0" lang="fr-FR" sz="1170" b="1" i="0" u="none" strike="noStrike" kern="0" cap="none" spc="0" normalizeH="0" baseline="0" noProof="0" dirty="0">
                  <a:ln>
                    <a:noFill/>
                  </a:ln>
                  <a:solidFill>
                    <a:srgbClr val="044823"/>
                  </a:solidFill>
                  <a:effectLst/>
                  <a:uLnTx/>
                  <a:uFillTx/>
                  <a:latin typeface="Arial"/>
                </a:rPr>
                <a:t>Competitiveness</a:t>
              </a:r>
            </a:p>
            <a:p>
              <a:pPr marL="168021" marR="0" lvl="0" indent="-168021" defTabSz="91342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44823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fr-FR" sz="117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  <a:t>Business environment</a:t>
              </a:r>
            </a:p>
            <a:p>
              <a:pPr marL="168021" marR="0" lvl="0" indent="-168021" defTabSz="91342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44823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fr-FR" sz="117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  <a:t>Infrastructure (transportation, power)</a:t>
              </a: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4159293" y="4625236"/>
              <a:ext cx="1623428" cy="10802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429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586" lvl="1" indent="-195966" defTabSz="913429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31" lvl="2" indent="-267227" defTabSz="913429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768" lvl="3" indent="-158716" defTabSz="913429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4947" lvl="4" indent="-132804" defTabSz="913429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defTabSz="91342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44823"/>
                </a:buClr>
                <a:buSzTx/>
                <a:buFontTx/>
                <a:buNone/>
                <a:tabLst/>
                <a:defRPr/>
              </a:pPr>
              <a:r>
                <a:rPr kumimoji="0" lang="fr-FR" sz="1170" b="1" i="0" u="none" strike="noStrike" kern="0" cap="none" spc="0" normalizeH="0" baseline="0" noProof="0" dirty="0">
                  <a:ln>
                    <a:noFill/>
                  </a:ln>
                  <a:solidFill>
                    <a:srgbClr val="044823"/>
                  </a:solidFill>
                  <a:effectLst/>
                  <a:uLnTx/>
                  <a:uFillTx/>
                  <a:latin typeface="Arial"/>
                </a:rPr>
                <a:t>Investing in our people</a:t>
              </a:r>
            </a:p>
            <a:p>
              <a:pPr marL="168021" marR="0" lvl="0" indent="-168021" defTabSz="91342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44823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fr-FR" sz="117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  <a:t>Job creation and inclusive growth</a:t>
              </a:r>
            </a:p>
            <a:p>
              <a:pPr marL="168021" marR="0" lvl="0" indent="-168021" defTabSz="91342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44823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fr-FR" sz="117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  <a:t>Social safety net</a:t>
              </a:r>
            </a:p>
            <a:p>
              <a:pPr marL="168021" marR="0" lvl="0" indent="-168021" defTabSz="91342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44823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fr-FR" sz="117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  <a:t>Public service delivery</a:t>
              </a: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3758342" y="2309321"/>
              <a:ext cx="1011083" cy="1620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429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586" lvl="1" indent="-195966" defTabSz="913429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31" lvl="2" indent="-267227" defTabSz="913429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768" lvl="3" indent="-158716" defTabSz="913429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4947" lvl="4" indent="-132804" defTabSz="913429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defTabSz="91342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44823"/>
                </a:buClr>
                <a:buSzTx/>
                <a:buFontTx/>
                <a:buNone/>
                <a:tabLst/>
                <a:defRPr/>
              </a:pPr>
              <a:r>
                <a:rPr kumimoji="0" lang="fr-FR" sz="117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44823"/>
                  </a:solidFill>
                  <a:effectLst/>
                  <a:uLnTx/>
                  <a:uFillTx/>
                  <a:latin typeface="Arial"/>
                </a:rPr>
                <a:t>Governance &amp; </a:t>
              </a:r>
              <a:r>
                <a:rPr kumimoji="0" lang="fr-FR" sz="1170" b="1" i="0" u="none" strike="noStrike" kern="0" cap="none" spc="0" normalizeH="0" baseline="0" noProof="0" dirty="0">
                  <a:ln>
                    <a:noFill/>
                  </a:ln>
                  <a:solidFill>
                    <a:srgbClr val="044823"/>
                  </a:solidFill>
                  <a:effectLst/>
                  <a:uLnTx/>
                  <a:uFillTx/>
                  <a:latin typeface="Arial"/>
                </a:rPr>
                <a:t>enablers</a:t>
              </a:r>
            </a:p>
            <a:p>
              <a:pPr marL="168021" marR="0" lvl="0" indent="-168021" defTabSz="91342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44823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fr-FR" sz="117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  <a:t>Governance</a:t>
              </a:r>
            </a:p>
            <a:p>
              <a:pPr marL="168021" marR="0" lvl="0" indent="-168021" defTabSz="91342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44823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fr-FR" sz="117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  <a:t>Security</a:t>
              </a:r>
            </a:p>
            <a:p>
              <a:pPr marL="168021" marR="0" lvl="0" indent="-168021" defTabSz="91342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44823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fr-FR" sz="117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  <a:t>Subnational coordination</a:t>
              </a:r>
            </a:p>
            <a:p>
              <a:pPr marL="168021" marR="0" lvl="0" indent="-168021" defTabSz="913429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44823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fr-FR" sz="117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</a:rPr>
                <a:t>Public service delivery</a:t>
              </a:r>
            </a:p>
          </p:txBody>
        </p:sp>
        <p:sp>
          <p:nvSpPr>
            <p:cNvPr id="14" name="Oval 13"/>
            <p:cNvSpPr/>
            <p:nvPr/>
          </p:nvSpPr>
          <p:spPr>
            <a:xfrm>
              <a:off x="5641361" y="2695262"/>
              <a:ext cx="356592" cy="356592"/>
            </a:xfrm>
            <a:prstGeom prst="ellipse">
              <a:avLst/>
            </a:prstGeom>
            <a:gradFill>
              <a:gsLst>
                <a:gs pos="0">
                  <a:srgbClr val="01943C"/>
                </a:gs>
                <a:gs pos="100000">
                  <a:srgbClr val="01943C">
                    <a:gamma/>
                    <a:shade val="50980"/>
                    <a:invGamma/>
                  </a:srgbClr>
                </a:gs>
              </a:gsLst>
              <a:lin ang="5400000" scaled="1"/>
            </a:gradFill>
            <a:ln w="2857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17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</a:t>
              </a:r>
            </a:p>
          </p:txBody>
        </p:sp>
        <p:sp>
          <p:nvSpPr>
            <p:cNvPr id="15" name="Oval 14"/>
            <p:cNvSpPr/>
            <p:nvPr/>
          </p:nvSpPr>
          <p:spPr>
            <a:xfrm>
              <a:off x="6479702" y="3238880"/>
              <a:ext cx="356592" cy="356592"/>
            </a:xfrm>
            <a:prstGeom prst="ellipse">
              <a:avLst/>
            </a:prstGeom>
            <a:gradFill>
              <a:gsLst>
                <a:gs pos="0">
                  <a:srgbClr val="01943C"/>
                </a:gs>
                <a:gs pos="100000">
                  <a:srgbClr val="01943C">
                    <a:gamma/>
                    <a:shade val="50980"/>
                    <a:invGamma/>
                  </a:srgbClr>
                </a:gs>
              </a:gsLst>
              <a:lin ang="5400000" scaled="1"/>
            </a:gradFill>
            <a:ln w="2857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17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</a:t>
              </a:r>
            </a:p>
          </p:txBody>
        </p:sp>
        <p:sp>
          <p:nvSpPr>
            <p:cNvPr id="16" name="Oval 15"/>
            <p:cNvSpPr/>
            <p:nvPr/>
          </p:nvSpPr>
          <p:spPr>
            <a:xfrm>
              <a:off x="6190823" y="4217952"/>
              <a:ext cx="356592" cy="356592"/>
            </a:xfrm>
            <a:prstGeom prst="ellipse">
              <a:avLst/>
            </a:prstGeom>
            <a:gradFill>
              <a:gsLst>
                <a:gs pos="0">
                  <a:srgbClr val="01943C"/>
                </a:gs>
                <a:gs pos="100000">
                  <a:srgbClr val="01943C">
                    <a:gamma/>
                    <a:shade val="50980"/>
                    <a:invGamma/>
                  </a:srgbClr>
                </a:gs>
              </a:gsLst>
              <a:lin ang="5400000" scaled="1"/>
            </a:gradFill>
            <a:ln w="2857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17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</a:t>
              </a:r>
            </a:p>
          </p:txBody>
        </p:sp>
        <p:sp>
          <p:nvSpPr>
            <p:cNvPr id="17" name="Oval 16"/>
            <p:cNvSpPr/>
            <p:nvPr/>
          </p:nvSpPr>
          <p:spPr>
            <a:xfrm>
              <a:off x="5088403" y="4217952"/>
              <a:ext cx="356592" cy="356592"/>
            </a:xfrm>
            <a:prstGeom prst="ellipse">
              <a:avLst/>
            </a:prstGeom>
            <a:gradFill>
              <a:gsLst>
                <a:gs pos="0">
                  <a:srgbClr val="01943C"/>
                </a:gs>
                <a:gs pos="100000">
                  <a:srgbClr val="01943C">
                    <a:gamma/>
                    <a:shade val="50980"/>
                    <a:invGamma/>
                  </a:srgbClr>
                </a:gs>
              </a:gsLst>
              <a:lin ang="5400000" scaled="1"/>
            </a:gradFill>
            <a:ln w="2857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17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</a:t>
              </a:r>
            </a:p>
          </p:txBody>
        </p:sp>
        <p:sp>
          <p:nvSpPr>
            <p:cNvPr id="18" name="Oval 17"/>
            <p:cNvSpPr/>
            <p:nvPr/>
          </p:nvSpPr>
          <p:spPr>
            <a:xfrm>
              <a:off x="4810244" y="3238880"/>
              <a:ext cx="356592" cy="356592"/>
            </a:xfrm>
            <a:prstGeom prst="ellipse">
              <a:avLst/>
            </a:prstGeom>
            <a:gradFill>
              <a:gsLst>
                <a:gs pos="0">
                  <a:srgbClr val="01943C"/>
                </a:gs>
                <a:gs pos="100000">
                  <a:srgbClr val="01943C">
                    <a:gamma/>
                    <a:shade val="50980"/>
                    <a:invGamma/>
                  </a:srgbClr>
                </a:gs>
              </a:gsLst>
              <a:lin ang="5400000" scaled="1"/>
            </a:gradFill>
            <a:ln w="2857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17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</a:t>
              </a:r>
            </a:p>
          </p:txBody>
        </p:sp>
        <p:sp>
          <p:nvSpPr>
            <p:cNvPr id="19" name="Rounded Rectangle 18"/>
            <p:cNvSpPr/>
            <p:nvPr/>
          </p:nvSpPr>
          <p:spPr>
            <a:xfrm>
              <a:off x="494094" y="1261868"/>
              <a:ext cx="2377390" cy="5051713"/>
            </a:xfrm>
            <a:prstGeom prst="roundRect">
              <a:avLst>
                <a:gd name="adj" fmla="val 0"/>
              </a:avLst>
            </a:prstGeom>
            <a:gradFill>
              <a:gsLst>
                <a:gs pos="0">
                  <a:srgbClr val="01943C"/>
                </a:gs>
                <a:gs pos="100000">
                  <a:srgbClr val="01943C">
                    <a:gamma/>
                    <a:shade val="50980"/>
                    <a:invGamma/>
                  </a:srgbClr>
                </a:gs>
              </a:gsLst>
              <a:lin ang="5400000" scaled="1"/>
            </a:gradFill>
            <a:ln w="19050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17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Rectangle 4"/>
            <p:cNvSpPr>
              <a:spLocks noChangeArrowheads="1"/>
            </p:cNvSpPr>
            <p:nvPr/>
          </p:nvSpPr>
          <p:spPr bwMode="gray">
            <a:xfrm>
              <a:off x="631879" y="3346134"/>
              <a:ext cx="2046822" cy="23865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defTabSz="78740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33350" indent="-131763" defTabSz="787400">
                <a:buClr>
                  <a:schemeClr val="tx2"/>
                </a:buClr>
                <a:buSzPct val="125000"/>
                <a:buFont typeface="Arial" panose="020B0604020202020204" pitchFamily="34" charset="0"/>
                <a:buChar char="▪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301625" indent="-150813" defTabSz="787400">
                <a:buClr>
                  <a:schemeClr val="tx2"/>
                </a:buClr>
                <a:buSzPct val="120000"/>
                <a:buFont typeface="Arial" panose="020B0604020202020204" pitchFamily="34" charset="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9738" indent="-136525" defTabSz="787400">
                <a:buClr>
                  <a:schemeClr val="tx2"/>
                </a:buClr>
                <a:buSzPct val="120000"/>
                <a:buFont typeface="Arial" panose="020B0604020202020204" pitchFamily="34" charset="0"/>
                <a:buChar char="▫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603250" indent="-142875" defTabSz="787400"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60450" indent="-142875" defTabSz="7874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517650" indent="-142875" defTabSz="7874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74850" indent="-142875" defTabSz="7874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32050" indent="-142875" defTabSz="7874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anose="020B0604020202020204" pitchFamily="34" charset="0"/>
                <a:buChar char="-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1555" marR="0" lvl="1" indent="0" defTabSz="787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588"/>
                </a:spcAft>
                <a:buClr>
                  <a:srgbClr val="FFFFFF"/>
                </a:buClr>
                <a:buSzPct val="125000"/>
                <a:buFont typeface="Arial" panose="020B0604020202020204" pitchFamily="34" charset="0"/>
                <a:buNone/>
                <a:tabLst/>
                <a:defRPr/>
              </a:pPr>
              <a:r>
                <a:rPr kumimoji="0" lang="fr-FR" sz="117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</a:rPr>
                <a:t>National Economic Recovery</a:t>
              </a:r>
              <a:br>
                <a:rPr kumimoji="0" lang="fr-FR" sz="117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</a:rPr>
              </a:br>
              <a:r>
                <a:rPr kumimoji="0" lang="fr-FR" sz="117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</a:rPr>
                <a:t>and Growth Plan</a:t>
              </a:r>
            </a:p>
            <a:p>
              <a:pPr marL="133350" marR="0" lvl="1" indent="-131763" defTabSz="787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588"/>
                </a:spcAft>
                <a:buClr>
                  <a:srgbClr val="FFFFFF"/>
                </a:buClr>
                <a:buSzPct val="125000"/>
                <a:buFont typeface="Arial" panose="020B0604020202020204" pitchFamily="34" charset="0"/>
                <a:buChar char="▪"/>
                <a:tabLst/>
                <a:defRPr/>
              </a:pPr>
              <a:r>
                <a:rPr kumimoji="0" lang="fr-FR" altLang="en-US" sz="117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</a:rPr>
                <a:t>Objectives</a:t>
              </a:r>
              <a:r>
                <a:rPr kumimoji="0" lang="fr-FR" altLang="en-US" sz="117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</a:rPr>
                <a:t>: </a:t>
              </a:r>
              <a:r>
                <a:rPr kumimoji="0" lang="fr-FR" altLang="en-US" sz="117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</a:rPr>
                <a:t>Articulate medium-term </a:t>
              </a:r>
              <a:r>
                <a:rPr kumimoji="0" lang="fr-FR" altLang="en-US" sz="117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</a:rPr>
                <a:t>economic policies to implement over 2016-20, and prioritize key turnaround interventions and enablers generate concrete, visible impact by 2017</a:t>
              </a:r>
            </a:p>
            <a:p>
              <a:pPr marL="133350" marR="0" lvl="1" indent="-131763" defTabSz="787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588"/>
                </a:spcAft>
                <a:buClr>
                  <a:srgbClr val="FFFFFF"/>
                </a:buClr>
                <a:buSzPct val="125000"/>
                <a:buFont typeface="Arial" panose="020B0604020202020204" pitchFamily="34" charset="0"/>
                <a:buChar char="▪"/>
                <a:tabLst/>
                <a:defRPr/>
              </a:pPr>
              <a:r>
                <a:rPr kumimoji="0" lang="en-ZA" altLang="en-US" sz="117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</a:rPr>
                <a:t>Key actions </a:t>
              </a:r>
              <a:r>
                <a:rPr kumimoji="0" lang="en-ZA" altLang="en-US" sz="117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</a:rPr>
                <a:t>will be articulated based on the SIP and other national reports</a:t>
              </a:r>
            </a:p>
          </p:txBody>
        </p:sp>
        <p:grpSp>
          <p:nvGrpSpPr>
            <p:cNvPr id="21" name="Group 20"/>
            <p:cNvGrpSpPr/>
            <p:nvPr/>
          </p:nvGrpSpPr>
          <p:grpSpPr>
            <a:xfrm>
              <a:off x="1117864" y="1483137"/>
              <a:ext cx="1235175" cy="1605336"/>
              <a:chOff x="6212487" y="2187489"/>
              <a:chExt cx="1260338" cy="1638040"/>
            </a:xfrm>
          </p:grpSpPr>
          <p:sp>
            <p:nvSpPr>
              <p:cNvPr id="22" name="Rectangle 21"/>
              <p:cNvSpPr>
                <a:spLocks/>
              </p:cNvSpPr>
              <p:nvPr/>
            </p:nvSpPr>
            <p:spPr>
              <a:xfrm>
                <a:off x="6212487" y="2187489"/>
                <a:ext cx="1260338" cy="1638040"/>
              </a:xfrm>
              <a:prstGeom prst="rect">
                <a:avLst/>
              </a:prstGeom>
              <a:solidFill>
                <a:srgbClr val="FFFFFF"/>
              </a:solidFill>
              <a:ln w="6350" cap="flat" cmpd="sng" algn="ctr">
                <a:solidFill>
                  <a:srgbClr val="044823"/>
                </a:solidFill>
                <a:prstDash val="soli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17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23" name="Picture 22"/>
              <p:cNvPicPr>
                <a:picLocks noChangeAspect="1"/>
              </p:cNvPicPr>
              <p:nvPr/>
            </p:nvPicPr>
            <p:blipFill rotWithShape="1"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443029" y="2397760"/>
                <a:ext cx="799253" cy="765387"/>
              </a:xfrm>
              <a:prstGeom prst="rect">
                <a:avLst/>
              </a:prstGeom>
            </p:spPr>
          </p:pic>
          <p:sp>
            <p:nvSpPr>
              <p:cNvPr id="24" name="Rectangle 4"/>
              <p:cNvSpPr>
                <a:spLocks noChangeArrowheads="1"/>
              </p:cNvSpPr>
              <p:nvPr/>
            </p:nvSpPr>
            <p:spPr bwMode="gray">
              <a:xfrm>
                <a:off x="6435597" y="3333994"/>
                <a:ext cx="814119" cy="18371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 marL="342900" indent="-342900" defTabSz="787400">
                  <a:buClr>
                    <a:schemeClr val="tx2"/>
                  </a:buCl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133350" indent="-131763" defTabSz="787400">
                  <a:buClr>
                    <a:schemeClr val="tx2"/>
                  </a:buClr>
                  <a:buSzPct val="125000"/>
                  <a:buFont typeface="Arial" panose="020B0604020202020204" pitchFamily="34" charset="0"/>
                  <a:buChar char="▪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301625" indent="-150813" defTabSz="787400">
                  <a:buClr>
                    <a:schemeClr val="tx2"/>
                  </a:buClr>
                  <a:buSzPct val="120000"/>
                  <a:buFont typeface="Arial" panose="020B0604020202020204" pitchFamily="34" charset="0"/>
                  <a:buChar char="–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439738" indent="-136525" defTabSz="787400">
                  <a:buClr>
                    <a:schemeClr val="tx2"/>
                  </a:buClr>
                  <a:buSzPct val="120000"/>
                  <a:buFont typeface="Arial" panose="020B0604020202020204" pitchFamily="34" charset="0"/>
                  <a:buChar char="▫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603250" indent="-142875" defTabSz="787400">
                  <a:buClr>
                    <a:schemeClr val="tx2"/>
                  </a:buClr>
                  <a:buSzPct val="89000"/>
                  <a:buFont typeface="Arial" panose="020B0604020202020204" pitchFamily="34" charset="0"/>
                  <a:buChar char="-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1060450" indent="-142875" defTabSz="78740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anose="020B0604020202020204" pitchFamily="34" charset="0"/>
                  <a:buChar char="-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1517650" indent="-142875" defTabSz="78740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anose="020B0604020202020204" pitchFamily="34" charset="0"/>
                  <a:buChar char="-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1974850" indent="-142875" defTabSz="78740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anose="020B0604020202020204" pitchFamily="34" charset="0"/>
                  <a:buChar char="-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2432050" indent="-142875" defTabSz="78740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anose="020B0604020202020204" pitchFamily="34" charset="0"/>
                  <a:buChar char="-"/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1555" marR="0" lvl="1" indent="0" algn="ctr" defTabSz="787400" eaLnBrk="1" fontAlgn="auto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ts val="0"/>
                  </a:spcAft>
                  <a:buClr>
                    <a:srgbClr val="044823"/>
                  </a:buClr>
                  <a:buSzPct val="125000"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fr-FR" sz="117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1943C"/>
                    </a:solidFill>
                    <a:effectLst/>
                    <a:uLnTx/>
                    <a:uFillTx/>
                    <a:latin typeface="Arial" panose="020B0604020202020204" pitchFamily="34" charset="0"/>
                  </a:rPr>
                  <a:t>NERGP</a:t>
                </a:r>
                <a:endParaRPr kumimoji="0" lang="en-ZA" altLang="en-US" sz="117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23213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1600" dirty="0">
                <a:latin typeface="Verdana" pitchFamily="34" charset="0"/>
                <a:ea typeface="Verdana" pitchFamily="34" charset="0"/>
                <a:cs typeface="Verdana" pitchFamily="34" charset="0"/>
              </a:rPr>
              <a:t>NIPC has a well articulated Strategy to promote significant investment to create job/wealth </a:t>
            </a:r>
            <a:r>
              <a:rPr lang="en-GB" dirty="0" smtClean="0"/>
              <a:t>	</a:t>
            </a:r>
            <a:endParaRPr lang="en-GB" dirty="0"/>
          </a:p>
        </p:txBody>
      </p:sp>
      <p:sp>
        <p:nvSpPr>
          <p:cNvPr id="4" name="Content Placeholder 1"/>
          <p:cNvSpPr txBox="1">
            <a:spLocks/>
          </p:cNvSpPr>
          <p:nvPr/>
        </p:nvSpPr>
        <p:spPr>
          <a:xfrm>
            <a:off x="472219" y="1089764"/>
            <a:ext cx="4405692" cy="493401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marL="248632" indent="-248632" algn="l" defTabSz="371484" rtl="0" eaLnBrk="1" latinLnBrk="0" hangingPunct="1">
              <a:spcBef>
                <a:spcPct val="20000"/>
              </a:spcBef>
              <a:spcAft>
                <a:spcPts val="488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463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11888" indent="-248632" algn="l" defTabSz="371484" rtl="0" eaLnBrk="1" latinLnBrk="0" hangingPunct="1">
              <a:spcBef>
                <a:spcPct val="20000"/>
              </a:spcBef>
              <a:spcAft>
                <a:spcPts val="488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3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31269" indent="-219381" algn="l" defTabSz="371484" rtl="0" eaLnBrk="1" latinLnBrk="0" hangingPunct="1">
              <a:spcBef>
                <a:spcPct val="20000"/>
              </a:spcBef>
              <a:spcAft>
                <a:spcPts val="488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138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009150" indent="-190130" algn="l" defTabSz="371484" rtl="0" eaLnBrk="1" latinLnBrk="0" hangingPunct="1">
              <a:spcBef>
                <a:spcPct val="20000"/>
              </a:spcBef>
              <a:spcAft>
                <a:spcPts val="488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975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301658" indent="-190130" algn="l" defTabSz="371484" rtl="0" eaLnBrk="1" latinLnBrk="0" hangingPunct="1">
              <a:spcBef>
                <a:spcPct val="20000"/>
              </a:spcBef>
              <a:spcAft>
                <a:spcPts val="488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975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543789" indent="-185742" algn="l" defTabSz="371484" rtl="0" eaLnBrk="1" latinLnBrk="0" hangingPunct="1">
              <a:spcBef>
                <a:spcPct val="20000"/>
              </a:spcBef>
              <a:spcAft>
                <a:spcPts val="488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975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787545" indent="-185742" algn="l" defTabSz="371484" rtl="0" eaLnBrk="1" latinLnBrk="0" hangingPunct="1">
              <a:spcBef>
                <a:spcPct val="20000"/>
              </a:spcBef>
              <a:spcAft>
                <a:spcPts val="488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975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031301" indent="-185742" algn="l" defTabSz="371484" rtl="0" eaLnBrk="1" latinLnBrk="0" hangingPunct="1">
              <a:spcBef>
                <a:spcPct val="20000"/>
              </a:spcBef>
              <a:spcAft>
                <a:spcPts val="488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975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275057" indent="-185742" algn="l" defTabSz="371484" rtl="0" eaLnBrk="1" latinLnBrk="0" hangingPunct="1">
              <a:spcBef>
                <a:spcPct val="20000"/>
              </a:spcBef>
              <a:spcAft>
                <a:spcPts val="488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975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fontAlgn="auto">
              <a:buClr>
                <a:srgbClr val="8AB833"/>
              </a:buClr>
              <a:buNone/>
            </a:pPr>
            <a:r>
              <a:rPr lang="en-GB" sz="1800" dirty="0">
                <a:solidFill>
                  <a:schemeClr val="accent2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trategic Pillars</a:t>
            </a:r>
          </a:p>
          <a:p>
            <a:pPr lvl="0"/>
            <a:r>
              <a:rPr lang="en-GB" sz="18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Improve </a:t>
            </a:r>
            <a:r>
              <a:rPr lang="en-GB" sz="1800" dirty="0">
                <a:latin typeface="Verdana" pitchFamily="34" charset="0"/>
                <a:ea typeface="Verdana" pitchFamily="34" charset="0"/>
                <a:cs typeface="Verdana" pitchFamily="34" charset="0"/>
              </a:rPr>
              <a:t>the image of Nigeria as an investment location</a:t>
            </a:r>
          </a:p>
          <a:p>
            <a:pPr lvl="0"/>
            <a:r>
              <a:rPr lang="en-GB" sz="1800" dirty="0">
                <a:latin typeface="Verdana" pitchFamily="34" charset="0"/>
                <a:ea typeface="Verdana" pitchFamily="34" charset="0"/>
                <a:cs typeface="Verdana" pitchFamily="34" charset="0"/>
              </a:rPr>
              <a:t>Champion investment climate reforms</a:t>
            </a:r>
          </a:p>
          <a:p>
            <a:pPr lvl="0"/>
            <a:r>
              <a:rPr lang="en-GB" sz="1800" dirty="0">
                <a:latin typeface="Verdana" pitchFamily="34" charset="0"/>
                <a:ea typeface="Verdana" pitchFamily="34" charset="0"/>
                <a:cs typeface="Verdana" pitchFamily="34" charset="0"/>
              </a:rPr>
              <a:t>Proactive investment promotion &amp; facilitation in priority sectors with large scale job creation potential</a:t>
            </a:r>
          </a:p>
          <a:p>
            <a:pPr lvl="0"/>
            <a:r>
              <a:rPr lang="en-GB" sz="1800" dirty="0">
                <a:latin typeface="Verdana" pitchFamily="34" charset="0"/>
                <a:ea typeface="Verdana" pitchFamily="34" charset="0"/>
                <a:cs typeface="Verdana" pitchFamily="34" charset="0"/>
              </a:rPr>
              <a:t>Provide quality aftercare services to investors with expansion potential</a:t>
            </a:r>
          </a:p>
          <a:p>
            <a:pPr lvl="0"/>
            <a:r>
              <a:rPr lang="en-GB" sz="1800" dirty="0">
                <a:latin typeface="Verdana" pitchFamily="34" charset="0"/>
                <a:ea typeface="Verdana" pitchFamily="34" charset="0"/>
                <a:cs typeface="Verdana" pitchFamily="34" charset="0"/>
              </a:rPr>
              <a:t>Support States to become more effective promoters of domestic and foreign investments</a:t>
            </a:r>
          </a:p>
          <a:p>
            <a:pPr marL="342900" marR="0" lvl="0" indent="-342900" algn="l" defTabSz="457200" rtl="0" eaLnBrk="0" fontAlgn="base" latinLnBrk="0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>
                <a:srgbClr val="00B050"/>
              </a:buClr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en-US" sz="13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Verdana" pitchFamily="34" charset="0"/>
              <a:cs typeface="Calibri" pitchFamily="34" charset="0"/>
            </a:endParaRPr>
          </a:p>
          <a:p>
            <a:pPr marL="248632" marR="0" lvl="0" indent="-248632" algn="l" defTabSz="37148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488"/>
              </a:spcAft>
              <a:buClr>
                <a:srgbClr val="8AB833"/>
              </a:buClr>
              <a:buSzPct val="92000"/>
              <a:buFont typeface="Wingdings 2" panose="05020102010507070707" pitchFamily="18" charset="2"/>
              <a:buChar char="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55F51"/>
              </a:solidFill>
              <a:effectLst/>
              <a:uLnTx/>
              <a:uFillTx/>
              <a:latin typeface="Calibri" pitchFamily="34" charset="0"/>
              <a:ea typeface="Verdana" pitchFamily="34" charset="0"/>
              <a:cs typeface="Calibri" pitchFamily="34" charset="0"/>
            </a:endParaRP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5028089" y="1089764"/>
            <a:ext cx="4405694" cy="492968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marL="248632" indent="-248632" algn="l" defTabSz="371484" rtl="0" eaLnBrk="1" latinLnBrk="0" hangingPunct="1">
              <a:spcBef>
                <a:spcPct val="20000"/>
              </a:spcBef>
              <a:spcAft>
                <a:spcPts val="488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463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11888" indent="-248632" algn="l" defTabSz="371484" rtl="0" eaLnBrk="1" latinLnBrk="0" hangingPunct="1">
              <a:spcBef>
                <a:spcPct val="20000"/>
              </a:spcBef>
              <a:spcAft>
                <a:spcPts val="488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3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31269" indent="-219381" algn="l" defTabSz="371484" rtl="0" eaLnBrk="1" latinLnBrk="0" hangingPunct="1">
              <a:spcBef>
                <a:spcPct val="20000"/>
              </a:spcBef>
              <a:spcAft>
                <a:spcPts val="488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138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009150" indent="-190130" algn="l" defTabSz="371484" rtl="0" eaLnBrk="1" latinLnBrk="0" hangingPunct="1">
              <a:spcBef>
                <a:spcPct val="20000"/>
              </a:spcBef>
              <a:spcAft>
                <a:spcPts val="488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975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301658" indent="-190130" algn="l" defTabSz="371484" rtl="0" eaLnBrk="1" latinLnBrk="0" hangingPunct="1">
              <a:spcBef>
                <a:spcPct val="20000"/>
              </a:spcBef>
              <a:spcAft>
                <a:spcPts val="488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975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543789" indent="-185742" algn="l" defTabSz="371484" rtl="0" eaLnBrk="1" latinLnBrk="0" hangingPunct="1">
              <a:spcBef>
                <a:spcPct val="20000"/>
              </a:spcBef>
              <a:spcAft>
                <a:spcPts val="488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975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787545" indent="-185742" algn="l" defTabSz="371484" rtl="0" eaLnBrk="1" latinLnBrk="0" hangingPunct="1">
              <a:spcBef>
                <a:spcPct val="20000"/>
              </a:spcBef>
              <a:spcAft>
                <a:spcPts val="488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975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031301" indent="-185742" algn="l" defTabSz="371484" rtl="0" eaLnBrk="1" latinLnBrk="0" hangingPunct="1">
              <a:spcBef>
                <a:spcPct val="20000"/>
              </a:spcBef>
              <a:spcAft>
                <a:spcPts val="488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975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275057" indent="-185742" algn="l" defTabSz="371484" rtl="0" eaLnBrk="1" latinLnBrk="0" hangingPunct="1">
              <a:spcBef>
                <a:spcPct val="20000"/>
              </a:spcBef>
              <a:spcAft>
                <a:spcPts val="488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975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57200" eaLnBrk="0" hangingPunct="0">
              <a:lnSpc>
                <a:spcPct val="150000"/>
              </a:lnSpc>
              <a:spcAft>
                <a:spcPct val="0"/>
              </a:spcAft>
              <a:buClr>
                <a:srgbClr val="00B050"/>
              </a:buClr>
              <a:buSzTx/>
              <a:buNone/>
              <a:defRPr/>
            </a:pPr>
            <a:r>
              <a:rPr lang="en-GB" sz="1800" dirty="0">
                <a:solidFill>
                  <a:schemeClr val="accent2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Key Performance </a:t>
            </a:r>
            <a:r>
              <a:rPr lang="en-GB" sz="1800" dirty="0" smtClean="0">
                <a:solidFill>
                  <a:schemeClr val="accent2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Indicators</a:t>
            </a:r>
          </a:p>
          <a:p>
            <a:pPr marL="0" indent="0" defTabSz="457200" eaLnBrk="0" hangingPunct="0">
              <a:lnSpc>
                <a:spcPct val="150000"/>
              </a:lnSpc>
              <a:spcAft>
                <a:spcPct val="0"/>
              </a:spcAft>
              <a:buClr>
                <a:srgbClr val="00B050"/>
              </a:buClr>
              <a:buSzTx/>
              <a:buNone/>
              <a:defRPr/>
            </a:pPr>
            <a:endParaRPr lang="en-GB" sz="100" dirty="0" smtClean="0">
              <a:solidFill>
                <a:schemeClr val="accent2">
                  <a:lumMod val="7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r>
              <a:rPr lang="en-GB" sz="1800" dirty="0" smtClean="0"/>
              <a:t>Increasing </a:t>
            </a:r>
            <a:r>
              <a:rPr lang="en-GB" sz="1800" dirty="0"/>
              <a:t>DDI and FDI flows</a:t>
            </a:r>
          </a:p>
          <a:p>
            <a:r>
              <a:rPr lang="en-GB" sz="1800" dirty="0"/>
              <a:t>Increasing aftercare flows from expansion investment </a:t>
            </a:r>
          </a:p>
          <a:p>
            <a:r>
              <a:rPr lang="en-GB" sz="1800" dirty="0"/>
              <a:t>Number of jobs created</a:t>
            </a:r>
          </a:p>
          <a:p>
            <a:r>
              <a:rPr lang="en-GB" sz="1800" dirty="0"/>
              <a:t>Doing Business ranking improves by &gt;20 places in 2018</a:t>
            </a:r>
          </a:p>
          <a:p>
            <a:r>
              <a:rPr lang="en-GB" sz="1800" dirty="0"/>
              <a:t>Number of priority sector reforms initiated </a:t>
            </a:r>
          </a:p>
          <a:p>
            <a:r>
              <a:rPr lang="en-GB" sz="1800" dirty="0"/>
              <a:t>State IPAs engagements: all engaged by 2018</a:t>
            </a:r>
          </a:p>
          <a:p>
            <a:r>
              <a:rPr lang="en-GB" sz="1800" dirty="0"/>
              <a:t>Domestic Direct Investors’ database: 2 states per zone in 2017</a:t>
            </a:r>
          </a:p>
          <a:p>
            <a:pPr marL="0" indent="0" defTabSz="457200" eaLnBrk="0" hangingPunct="0">
              <a:lnSpc>
                <a:spcPct val="150000"/>
              </a:lnSpc>
              <a:spcAft>
                <a:spcPct val="0"/>
              </a:spcAft>
              <a:buClr>
                <a:srgbClr val="00B050"/>
              </a:buClr>
              <a:buSzTx/>
              <a:buNone/>
              <a:defRPr/>
            </a:pPr>
            <a:endParaRPr lang="en-GB" sz="1800" dirty="0">
              <a:solidFill>
                <a:schemeClr val="accent2">
                  <a:lumMod val="7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21794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Strategic Focus: </a:t>
            </a:r>
            <a:r>
              <a:rPr lang="en-US" dirty="0">
                <a:latin typeface="Verdana" pitchFamily="34" charset="0"/>
                <a:ea typeface="Verdana" pitchFamily="34" charset="0"/>
                <a:cs typeface="Verdana" pitchFamily="34" charset="0"/>
              </a:rPr>
              <a:t>2017 </a:t>
            </a:r>
            <a:r>
              <a:rPr lang="en-GB" dirty="0" smtClean="0"/>
              <a:t>		</a:t>
            </a:r>
            <a:endParaRPr lang="en-GB" dirty="0"/>
          </a:p>
        </p:txBody>
      </p:sp>
      <p:sp>
        <p:nvSpPr>
          <p:cNvPr id="5" name="Content Placeholder 16"/>
          <p:cNvSpPr txBox="1">
            <a:spLocks/>
          </p:cNvSpPr>
          <p:nvPr/>
        </p:nvSpPr>
        <p:spPr>
          <a:xfrm>
            <a:off x="409352" y="1074112"/>
            <a:ext cx="4615656" cy="511374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48632" indent="-248632" algn="l" defTabSz="371484" rtl="0" eaLnBrk="1" latinLnBrk="0" hangingPunct="1">
              <a:spcBef>
                <a:spcPct val="20000"/>
              </a:spcBef>
              <a:spcAft>
                <a:spcPts val="488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625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11888" indent="-248632" algn="l" defTabSz="371484" rtl="0" eaLnBrk="1" latinLnBrk="0" hangingPunct="1">
              <a:spcBef>
                <a:spcPct val="20000"/>
              </a:spcBef>
              <a:spcAft>
                <a:spcPts val="488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463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731269" indent="-219381" algn="l" defTabSz="371484" rtl="0" eaLnBrk="1" latinLnBrk="0" hangingPunct="1">
              <a:spcBef>
                <a:spcPct val="20000"/>
              </a:spcBef>
              <a:spcAft>
                <a:spcPts val="488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3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009150" indent="-190130" algn="l" defTabSz="371484" rtl="0" eaLnBrk="1" latinLnBrk="0" hangingPunct="1">
              <a:spcBef>
                <a:spcPct val="20000"/>
              </a:spcBef>
              <a:spcAft>
                <a:spcPts val="488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138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301658" indent="-190130" algn="l" defTabSz="371484" rtl="0" eaLnBrk="1" latinLnBrk="0" hangingPunct="1">
              <a:spcBef>
                <a:spcPct val="20000"/>
              </a:spcBef>
              <a:spcAft>
                <a:spcPts val="488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138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543789" indent="-185742" algn="l" defTabSz="371484" rtl="0" eaLnBrk="1" latinLnBrk="0" hangingPunct="1">
              <a:spcBef>
                <a:spcPct val="20000"/>
              </a:spcBef>
              <a:spcAft>
                <a:spcPts val="488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138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787545" indent="-185742" algn="l" defTabSz="371484" rtl="0" eaLnBrk="1" latinLnBrk="0" hangingPunct="1">
              <a:spcBef>
                <a:spcPct val="20000"/>
              </a:spcBef>
              <a:spcAft>
                <a:spcPts val="488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138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031301" indent="-185742" algn="l" defTabSz="371484" rtl="0" eaLnBrk="1" latinLnBrk="0" hangingPunct="1">
              <a:spcBef>
                <a:spcPct val="20000"/>
              </a:spcBef>
              <a:spcAft>
                <a:spcPts val="488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138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275057" indent="-185742" algn="l" defTabSz="371484" rtl="0" eaLnBrk="1" latinLnBrk="0" hangingPunct="1">
              <a:spcBef>
                <a:spcPct val="20000"/>
              </a:spcBef>
              <a:spcAft>
                <a:spcPts val="488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138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defRPr/>
            </a:pPr>
            <a:r>
              <a:rPr lang="en-GB" sz="1400" kern="0" dirty="0" err="1" smtClean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Ongoing</a:t>
            </a:r>
            <a:r>
              <a:rPr lang="en-GB" sz="1400" kern="0" dirty="0" smtClean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dialogue with investors to improve investment climate and resolve implementation challenges</a:t>
            </a:r>
          </a:p>
          <a:p>
            <a:pPr defTabSz="914400"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defRPr/>
            </a:pPr>
            <a:endParaRPr lang="en-GB" sz="800" kern="0" dirty="0" smtClean="0">
              <a:solidFill>
                <a:sysClr val="windowText" lastClr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defTabSz="914400"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defRPr/>
            </a:pPr>
            <a:r>
              <a:rPr lang="en-GB" sz="1400" kern="0" dirty="0" smtClean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Low Cost-High Impact investment promotion activity for increasing FDI</a:t>
            </a:r>
          </a:p>
          <a:p>
            <a:pPr defTabSz="914400"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defRPr/>
            </a:pPr>
            <a:endParaRPr lang="en-GB" sz="800" kern="0" dirty="0" smtClean="0">
              <a:solidFill>
                <a:sysClr val="windowText" lastClr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defTabSz="914400"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defRPr/>
            </a:pPr>
            <a:r>
              <a:rPr lang="en-GB" sz="1400" kern="0" dirty="0" smtClean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Fast-tracking the implementation of investment projects</a:t>
            </a:r>
          </a:p>
          <a:p>
            <a:pPr defTabSz="914400"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defRPr/>
            </a:pPr>
            <a:endParaRPr lang="en-GB" sz="800" kern="0" dirty="0" smtClean="0">
              <a:solidFill>
                <a:sysClr val="windowText" lastClr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defTabSz="914400"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defRPr/>
            </a:pPr>
            <a:r>
              <a:rPr lang="en-GB" sz="1400" kern="0" dirty="0" smtClean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Identify and remove individual investor’s constraints and challenges</a:t>
            </a:r>
          </a:p>
          <a:p>
            <a:pPr defTabSz="914400"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defRPr/>
            </a:pPr>
            <a:endParaRPr lang="en-GB" sz="800" kern="0" dirty="0" smtClean="0">
              <a:solidFill>
                <a:sysClr val="windowText" lastClr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defTabSz="914400"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defRPr/>
            </a:pPr>
            <a:r>
              <a:rPr lang="en-GB" sz="1400" kern="0" dirty="0" smtClean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Increasing overall investor satisfaction leading to improved image of Nigeria</a:t>
            </a:r>
          </a:p>
          <a:p>
            <a:pPr defTabSz="914400"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defRPr/>
            </a:pPr>
            <a:endParaRPr lang="en-GB" sz="800" kern="0" dirty="0" smtClean="0">
              <a:solidFill>
                <a:sysClr val="windowText" lastClr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defTabSz="914400"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defRPr/>
            </a:pPr>
            <a:r>
              <a:rPr lang="en-GB" sz="1400" kern="0" dirty="0" smtClean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Increasing value of the investment to local economy (expansion and/or retention opportunities)</a:t>
            </a:r>
          </a:p>
          <a:p>
            <a:pPr defTabSz="914400"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defRPr/>
            </a:pPr>
            <a:endParaRPr lang="en-GB" sz="1400" kern="0" dirty="0" smtClean="0">
              <a:solidFill>
                <a:sysClr val="windowText" lastClr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defTabSz="914400"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defRPr/>
            </a:pPr>
            <a:r>
              <a:rPr lang="en-GB" sz="1400" kern="0" dirty="0" smtClean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nsure growth is not constrained</a:t>
            </a:r>
          </a:p>
          <a:p>
            <a:pPr defTabSz="914400"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defRPr/>
            </a:pPr>
            <a:endParaRPr lang="en-GB" sz="1400" kern="0" dirty="0" smtClean="0">
              <a:solidFill>
                <a:sysClr val="windowText" lastClr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defTabSz="914400"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defRPr/>
            </a:pPr>
            <a:r>
              <a:rPr lang="en-GB" sz="1400" kern="0" dirty="0" smtClean="0">
                <a:solidFill>
                  <a:sysClr val="windowText" lastClr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ncourage investors to upgrade activities and add value</a:t>
            </a:r>
            <a:endParaRPr lang="en-GB" sz="1400" kern="0" dirty="0">
              <a:solidFill>
                <a:sysClr val="windowText" lastClr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58972" y="1287054"/>
            <a:ext cx="4747027" cy="4391000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6846686" y="2982492"/>
            <a:ext cx="1371600" cy="1000125"/>
          </a:xfrm>
          <a:prstGeom prst="rect">
            <a:avLst/>
          </a:prstGeom>
          <a:solidFill>
            <a:srgbClr val="549E39">
              <a:lumMod val="75000"/>
            </a:srgbClr>
          </a:solidFill>
          <a:ln w="22225" cap="rnd" cmpd="sng" algn="ctr">
            <a:solidFill>
              <a:srgbClr val="549E39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Franklin Gothic Book"/>
                <a:ea typeface="+mn-ea"/>
                <a:cs typeface="+mn-cs"/>
              </a:rPr>
              <a:t>Investment Promotion Circle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266648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Strategic Focus: </a:t>
            </a:r>
            <a:r>
              <a:rPr lang="en-US" dirty="0">
                <a:latin typeface="Verdana" pitchFamily="34" charset="0"/>
                <a:ea typeface="Verdana" pitchFamily="34" charset="0"/>
                <a:cs typeface="Verdana" pitchFamily="34" charset="0"/>
              </a:rPr>
              <a:t>2017 </a:t>
            </a:r>
            <a:r>
              <a:rPr lang="en-GB" dirty="0" smtClean="0"/>
              <a:t>		</a:t>
            </a:r>
            <a:endParaRPr lang="en-GB" dirty="0"/>
          </a:p>
        </p:txBody>
      </p:sp>
      <p:sp>
        <p:nvSpPr>
          <p:cNvPr id="3" name="TextBox 2"/>
          <p:cNvSpPr txBox="1"/>
          <p:nvPr/>
        </p:nvSpPr>
        <p:spPr>
          <a:xfrm>
            <a:off x="627060" y="1175569"/>
            <a:ext cx="8474253" cy="52322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429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586" lvl="1" indent="-195966" defTabSz="913429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31" lvl="2" indent="-267227" defTabSz="913429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768" lvl="3" indent="-158716" defTabSz="913429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4947" lvl="4" indent="-132804" defTabSz="913429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620" lvl="1" indent="0">
              <a:spcBef>
                <a:spcPct val="50000"/>
              </a:spcBef>
              <a:buClr>
                <a:srgbClr val="8AB833">
                  <a:lumMod val="75000"/>
                </a:srgbClr>
              </a:buClr>
              <a:buNone/>
            </a:pPr>
            <a:r>
              <a:rPr lang="en-GB" sz="20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The strategic initiatives of NIPC to attract quality investment into the Nigerian economy are as follows</a:t>
            </a:r>
            <a:r>
              <a:rPr lang="en-GB" sz="2000" dirty="0" smtClean="0">
                <a:solidFill>
                  <a:prstClr val="black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:</a:t>
            </a:r>
            <a:endParaRPr lang="en-ZA" sz="2000" dirty="0" smtClean="0">
              <a:solidFill>
                <a:prstClr val="black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lvl="1">
              <a:spcBef>
                <a:spcPct val="50000"/>
              </a:spcBef>
              <a:buClr>
                <a:srgbClr val="8AB833">
                  <a:lumMod val="75000"/>
                </a:srgbClr>
              </a:buClr>
            </a:pPr>
            <a:r>
              <a:rPr lang="en-US" sz="2000" dirty="0" smtClean="0">
                <a:solidFill>
                  <a:srgbClr val="455F51">
                    <a:lumMod val="60000"/>
                    <a:lumOff val="40000"/>
                  </a:srgb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Pioneer Status review</a:t>
            </a:r>
          </a:p>
          <a:p>
            <a:pPr lvl="1">
              <a:spcBef>
                <a:spcPct val="50000"/>
              </a:spcBef>
              <a:buClr>
                <a:srgbClr val="8AB833">
                  <a:lumMod val="75000"/>
                </a:srgbClr>
              </a:buClr>
            </a:pPr>
            <a:r>
              <a:rPr lang="en-US" sz="2000" dirty="0" smtClean="0">
                <a:solidFill>
                  <a:srgbClr val="455F51">
                    <a:lumMod val="60000"/>
                    <a:lumOff val="40000"/>
                  </a:srgb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Investment incentives</a:t>
            </a:r>
          </a:p>
          <a:p>
            <a:pPr lvl="1">
              <a:spcBef>
                <a:spcPct val="50000"/>
              </a:spcBef>
              <a:buClr>
                <a:srgbClr val="8AB833">
                  <a:lumMod val="75000"/>
                </a:srgbClr>
              </a:buClr>
            </a:pPr>
            <a:r>
              <a:rPr lang="en-US" sz="2000" dirty="0" smtClean="0">
                <a:solidFill>
                  <a:srgbClr val="455F51">
                    <a:lumMod val="60000"/>
                    <a:lumOff val="40000"/>
                  </a:srgb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Direct </a:t>
            </a:r>
            <a:r>
              <a:rPr lang="en-US" sz="2000" dirty="0">
                <a:solidFill>
                  <a:srgbClr val="455F51">
                    <a:lumMod val="60000"/>
                    <a:lumOff val="40000"/>
                  </a:srgb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I</a:t>
            </a:r>
            <a:r>
              <a:rPr lang="en-US" sz="2000" dirty="0" smtClean="0">
                <a:solidFill>
                  <a:srgbClr val="455F51">
                    <a:lumMod val="60000"/>
                    <a:lumOff val="40000"/>
                  </a:srgb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nvestor Summit</a:t>
            </a:r>
          </a:p>
          <a:p>
            <a:pPr lvl="1">
              <a:spcBef>
                <a:spcPct val="50000"/>
              </a:spcBef>
              <a:buClr>
                <a:srgbClr val="8AB833">
                  <a:lumMod val="75000"/>
                </a:srgbClr>
              </a:buClr>
            </a:pPr>
            <a:r>
              <a:rPr lang="en-US" sz="2000" dirty="0" smtClean="0">
                <a:solidFill>
                  <a:srgbClr val="455F51">
                    <a:lumMod val="60000"/>
                    <a:lumOff val="40000"/>
                  </a:srgb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Develop Domestic Direct Investors (DDI)</a:t>
            </a:r>
          </a:p>
          <a:p>
            <a:pPr lvl="1">
              <a:spcBef>
                <a:spcPct val="50000"/>
              </a:spcBef>
              <a:buClr>
                <a:srgbClr val="8AB833">
                  <a:lumMod val="75000"/>
                </a:srgbClr>
              </a:buClr>
            </a:pPr>
            <a:r>
              <a:rPr lang="en-US" sz="2000" dirty="0" smtClean="0">
                <a:solidFill>
                  <a:srgbClr val="455F51">
                    <a:lumMod val="60000"/>
                    <a:lumOff val="40000"/>
                  </a:srgb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Proactive Aftercare service</a:t>
            </a:r>
          </a:p>
          <a:p>
            <a:pPr lvl="1">
              <a:spcBef>
                <a:spcPct val="50000"/>
              </a:spcBef>
              <a:buClr>
                <a:srgbClr val="8AB833">
                  <a:lumMod val="75000"/>
                </a:srgbClr>
              </a:buClr>
            </a:pPr>
            <a:r>
              <a:rPr lang="en-US" sz="2000" dirty="0" smtClean="0">
                <a:solidFill>
                  <a:srgbClr val="455F51">
                    <a:lumMod val="60000"/>
                    <a:lumOff val="40000"/>
                  </a:srgb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One-Stop Investment Centre (OSIC)</a:t>
            </a:r>
          </a:p>
          <a:p>
            <a:pPr lvl="1">
              <a:spcBef>
                <a:spcPct val="50000"/>
              </a:spcBef>
              <a:buClr>
                <a:srgbClr val="8AB833">
                  <a:lumMod val="75000"/>
                </a:srgbClr>
              </a:buClr>
            </a:pPr>
            <a:r>
              <a:rPr lang="en-US" sz="2000" dirty="0" smtClean="0">
                <a:solidFill>
                  <a:srgbClr val="455F51">
                    <a:lumMod val="60000"/>
                    <a:lumOff val="40000"/>
                  </a:srgb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Focused FDI strategy</a:t>
            </a:r>
          </a:p>
          <a:p>
            <a:pPr lvl="1">
              <a:spcBef>
                <a:spcPct val="50000"/>
              </a:spcBef>
              <a:buClr>
                <a:srgbClr val="8AB833">
                  <a:lumMod val="75000"/>
                </a:srgbClr>
              </a:buClr>
            </a:pPr>
            <a:r>
              <a:rPr lang="en-US" sz="2000" dirty="0" smtClean="0">
                <a:solidFill>
                  <a:srgbClr val="455F51">
                    <a:lumMod val="60000"/>
                    <a:lumOff val="40000"/>
                  </a:srgb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Develop research capacity</a:t>
            </a:r>
          </a:p>
          <a:p>
            <a:pPr lvl="1">
              <a:spcBef>
                <a:spcPct val="50000"/>
              </a:spcBef>
              <a:buClr>
                <a:srgbClr val="8AB833">
                  <a:lumMod val="75000"/>
                </a:srgbClr>
              </a:buClr>
            </a:pPr>
            <a:r>
              <a:rPr lang="en-US" sz="2000" dirty="0" smtClean="0">
                <a:solidFill>
                  <a:srgbClr val="455F51">
                    <a:lumMod val="60000"/>
                    <a:lumOff val="40000"/>
                  </a:srgb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mpower zonal offices</a:t>
            </a:r>
          </a:p>
          <a:p>
            <a:pPr lvl="1">
              <a:spcBef>
                <a:spcPct val="50000"/>
              </a:spcBef>
              <a:buClr>
                <a:srgbClr val="8AB833">
                  <a:lumMod val="75000"/>
                </a:srgbClr>
              </a:buClr>
            </a:pPr>
            <a:r>
              <a:rPr lang="en-US" sz="2000" dirty="0" smtClean="0">
                <a:solidFill>
                  <a:srgbClr val="455F51">
                    <a:lumMod val="60000"/>
                    <a:lumOff val="40000"/>
                  </a:srgb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National Investment Certification </a:t>
            </a:r>
            <a:r>
              <a:rPr lang="en-US" sz="2000" dirty="0" err="1" smtClean="0">
                <a:solidFill>
                  <a:srgbClr val="455F51">
                    <a:lumMod val="60000"/>
                    <a:lumOff val="40000"/>
                  </a:srgb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Programme</a:t>
            </a:r>
            <a:r>
              <a:rPr lang="en-US" sz="2000" dirty="0" smtClean="0">
                <a:solidFill>
                  <a:srgbClr val="455F51">
                    <a:lumMod val="60000"/>
                    <a:lumOff val="40000"/>
                  </a:srgb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for States (NICPS)</a:t>
            </a:r>
          </a:p>
        </p:txBody>
      </p:sp>
    </p:spTree>
    <p:extLst>
      <p:ext uri="{BB962C8B-B14F-4D97-AF65-F5344CB8AC3E}">
        <p14:creationId xmlns:p14="http://schemas.microsoft.com/office/powerpoint/2010/main" val="35118965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660400" y="1235075"/>
            <a:ext cx="8255000" cy="462896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GB" sz="2000" dirty="0" smtClean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THANK YOU</a:t>
            </a:r>
          </a:p>
          <a:p>
            <a:pPr algn="ctr">
              <a:lnSpc>
                <a:spcPct val="90000"/>
              </a:lnSpc>
              <a:defRPr/>
            </a:pPr>
            <a:r>
              <a:rPr lang="en-GB" dirty="0" smtClean="0">
                <a:solidFill>
                  <a:srgbClr val="1F497D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Verdana" pitchFamily="34" charset="0"/>
                <a:ea typeface="Verdana" pitchFamily="34" charset="0"/>
                <a:cs typeface="Verdana" pitchFamily="34" charset="0"/>
              </a:rPr>
              <a:t/>
            </a:r>
            <a:br>
              <a:rPr lang="en-GB" dirty="0" smtClean="0">
                <a:solidFill>
                  <a:srgbClr val="1F497D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Verdana" pitchFamily="34" charset="0"/>
                <a:ea typeface="Verdana" pitchFamily="34" charset="0"/>
                <a:cs typeface="Verdana" pitchFamily="34" charset="0"/>
              </a:rPr>
            </a:br>
            <a:r>
              <a:rPr lang="en-GB" dirty="0" smtClean="0">
                <a:solidFill>
                  <a:srgbClr val="1F497D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Verdana" pitchFamily="34" charset="0"/>
                <a:ea typeface="Verdana" pitchFamily="34" charset="0"/>
                <a:cs typeface="Verdana" pitchFamily="34" charset="0"/>
              </a:rPr>
              <a:t/>
            </a:r>
            <a:br>
              <a:rPr lang="en-GB" dirty="0" smtClean="0">
                <a:solidFill>
                  <a:srgbClr val="1F497D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Verdana" pitchFamily="34" charset="0"/>
                <a:ea typeface="Verdana" pitchFamily="34" charset="0"/>
                <a:cs typeface="Verdana" pitchFamily="34" charset="0"/>
              </a:rPr>
            </a:br>
            <a:r>
              <a:rPr lang="en-GB" sz="1600" dirty="0" smtClean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Yewande Sadiku</a:t>
            </a:r>
            <a:r>
              <a:rPr lang="en-GB" dirty="0" smtClean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/>
            </a:r>
            <a:br>
              <a:rPr lang="en-GB" dirty="0" smtClean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</a:br>
            <a:r>
              <a:rPr lang="en-GB" sz="1600" b="1" dirty="0" smtClean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xecutive Secretary/CEO</a:t>
            </a:r>
          </a:p>
          <a:p>
            <a:pPr algn="ctr">
              <a:lnSpc>
                <a:spcPct val="90000"/>
              </a:lnSpc>
              <a:defRPr/>
            </a:pPr>
            <a:endParaRPr lang="en-GB" sz="1600" dirty="0" smtClean="0">
              <a:solidFill>
                <a:srgbClr val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ctr">
              <a:lnSpc>
                <a:spcPct val="90000"/>
              </a:lnSpc>
              <a:defRPr/>
            </a:pPr>
            <a:endParaRPr lang="en-GB" sz="1600" dirty="0" smtClean="0">
              <a:solidFill>
                <a:srgbClr val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ctr">
              <a:lnSpc>
                <a:spcPct val="90000"/>
              </a:lnSpc>
              <a:defRPr/>
            </a:pPr>
            <a:endParaRPr lang="en-GB" sz="1600" dirty="0" smtClean="0">
              <a:solidFill>
                <a:srgbClr val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ctr">
              <a:lnSpc>
                <a:spcPct val="90000"/>
              </a:lnSpc>
              <a:defRPr/>
            </a:pPr>
            <a:r>
              <a:rPr lang="en-GB" sz="1600" dirty="0" smtClean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/>
            </a:r>
            <a:br>
              <a:rPr lang="en-GB" sz="1600" dirty="0" smtClean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</a:br>
            <a:r>
              <a:rPr lang="en-GB" sz="1600" b="1" dirty="0" smtClean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NIGERIAN INVESTMENT PROMOTION COMMISSION</a:t>
            </a:r>
            <a:r>
              <a:rPr lang="en-GB" sz="1600" dirty="0" smtClean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/>
            </a:r>
            <a:br>
              <a:rPr lang="en-GB" sz="1600" dirty="0" smtClean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</a:br>
            <a:r>
              <a:rPr lang="en-GB" sz="1600" dirty="0" smtClean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Plot 1181 Aguiyi Ironsi Street </a:t>
            </a:r>
            <a:br>
              <a:rPr lang="en-GB" sz="1600" dirty="0" smtClean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</a:br>
            <a:r>
              <a:rPr lang="en-GB" sz="1600" dirty="0" smtClean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Maitama District</a:t>
            </a:r>
          </a:p>
          <a:p>
            <a:pPr algn="ctr">
              <a:lnSpc>
                <a:spcPct val="90000"/>
              </a:lnSpc>
              <a:defRPr/>
            </a:pPr>
            <a:r>
              <a:rPr lang="en-GB" sz="1600" dirty="0" smtClean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buja</a:t>
            </a:r>
          </a:p>
          <a:p>
            <a:pPr algn="ctr">
              <a:lnSpc>
                <a:spcPct val="90000"/>
              </a:lnSpc>
              <a:defRPr/>
            </a:pPr>
            <a:endParaRPr lang="en-GB" sz="1600" dirty="0" smtClean="0">
              <a:solidFill>
                <a:srgbClr val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ctr">
              <a:defRPr/>
            </a:pPr>
            <a:r>
              <a:rPr lang="en-GB" sz="1600" dirty="0" smtClean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Mobile : +234 803 402 0099</a:t>
            </a:r>
          </a:p>
          <a:p>
            <a:pPr algn="ctr">
              <a:defRPr/>
            </a:pPr>
            <a:r>
              <a:rPr lang="en-GB" sz="1600" dirty="0" smtClean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mail: </a:t>
            </a:r>
            <a:r>
              <a:rPr lang="en-GB" sz="1600" dirty="0" err="1" smtClean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yewande.sadiku@nipc.gov.ng</a:t>
            </a:r>
            <a:endParaRPr lang="en-GB" sz="1600" dirty="0" smtClean="0">
              <a:solidFill>
                <a:srgbClr val="0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algn="ctr">
              <a:lnSpc>
                <a:spcPct val="90000"/>
              </a:lnSpc>
              <a:defRPr/>
            </a:pPr>
            <a:r>
              <a:rPr lang="en-GB" sz="1600" u="sng" dirty="0" smtClean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  <a:hlinkClick r:id="rId2"/>
              </a:rPr>
              <a:t>                    </a:t>
            </a:r>
          </a:p>
          <a:p>
            <a:pPr algn="ctr">
              <a:lnSpc>
                <a:spcPct val="90000"/>
              </a:lnSpc>
              <a:defRPr/>
            </a:pPr>
            <a:endParaRPr lang="en-GB" sz="1600" dirty="0" smtClean="0">
              <a:solidFill>
                <a:srgbClr val="000000"/>
              </a:solidFill>
              <a:latin typeface="Verdana" pitchFamily="34" charset="0"/>
              <a:ea typeface="Verdana" pitchFamily="34" charset="0"/>
              <a:cs typeface="Verdana" pitchFamily="34" charset="0"/>
              <a:hlinkClick r:id="rId2"/>
            </a:endParaRPr>
          </a:p>
          <a:p>
            <a:pPr algn="ctr">
              <a:lnSpc>
                <a:spcPct val="90000"/>
              </a:lnSpc>
              <a:defRPr/>
            </a:pPr>
            <a:r>
              <a:rPr lang="en-GB" sz="1600" dirty="0" smtClean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Website: </a:t>
            </a:r>
            <a:r>
              <a:rPr lang="en-GB" sz="1600" dirty="0" err="1" smtClean="0">
                <a:solidFill>
                  <a:srgbClr val="00000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www.nipc.gov.ng</a:t>
            </a:r>
            <a:endParaRPr lang="en-GB" sz="1600" b="1" dirty="0">
              <a:solidFill>
                <a:srgbClr val="FF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5702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Nigeria’s Business Climate</a:t>
            </a:r>
            <a:r>
              <a:rPr lang="en-GB" dirty="0" smtClean="0"/>
              <a:t>		</a:t>
            </a:r>
            <a:endParaRPr lang="en-GB" dirty="0"/>
          </a:p>
        </p:txBody>
      </p:sp>
      <p:sp>
        <p:nvSpPr>
          <p:cNvPr id="3" name="TextBox 2"/>
          <p:cNvSpPr txBox="1"/>
          <p:nvPr/>
        </p:nvSpPr>
        <p:spPr>
          <a:xfrm>
            <a:off x="627060" y="1175569"/>
            <a:ext cx="8474253" cy="4739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429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586" lvl="1" indent="-195966" defTabSz="913429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31" lvl="2" indent="-267227" defTabSz="913429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768" lvl="3" indent="-158716" defTabSz="913429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4947" lvl="4" indent="-132804" defTabSz="913429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620" lvl="1" indent="0">
              <a:spcBef>
                <a:spcPct val="50000"/>
              </a:spcBef>
              <a:buClr>
                <a:srgbClr val="8AB833">
                  <a:lumMod val="75000"/>
                </a:srgbClr>
              </a:buClr>
              <a:buFont typeface="Arial" charset="0"/>
              <a:buNone/>
            </a:pPr>
            <a:endParaRPr lang="en-ZA" sz="2000" dirty="0" smtClean="0">
              <a:solidFill>
                <a:prstClr val="black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lvl="1">
              <a:spcBef>
                <a:spcPct val="50000"/>
              </a:spcBef>
              <a:buClr>
                <a:srgbClr val="8AB833">
                  <a:lumMod val="75000"/>
                </a:srgbClr>
              </a:buClr>
            </a:pPr>
            <a:r>
              <a:rPr lang="en-US" sz="2000" dirty="0" smtClean="0">
                <a:solidFill>
                  <a:srgbClr val="455F51">
                    <a:lumMod val="60000"/>
                    <a:lumOff val="40000"/>
                  </a:srgb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Widening Income Gaps and Wealth Distribution</a:t>
            </a:r>
          </a:p>
          <a:p>
            <a:pPr lvl="1">
              <a:spcBef>
                <a:spcPct val="50000"/>
              </a:spcBef>
              <a:buClr>
                <a:srgbClr val="8AB833">
                  <a:lumMod val="75000"/>
                </a:srgbClr>
              </a:buClr>
            </a:pPr>
            <a:r>
              <a:rPr lang="en-US" sz="2000" dirty="0" smtClean="0">
                <a:solidFill>
                  <a:srgbClr val="455F51">
                    <a:lumMod val="60000"/>
                    <a:lumOff val="40000"/>
                  </a:srgb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Dependence on Oil Revenue</a:t>
            </a:r>
          </a:p>
          <a:p>
            <a:pPr lvl="1">
              <a:spcBef>
                <a:spcPct val="50000"/>
              </a:spcBef>
              <a:buClr>
                <a:srgbClr val="8AB833">
                  <a:lumMod val="75000"/>
                </a:srgbClr>
              </a:buClr>
            </a:pPr>
            <a:r>
              <a:rPr lang="en-US" sz="2000" dirty="0" smtClean="0">
                <a:solidFill>
                  <a:srgbClr val="455F51">
                    <a:lumMod val="60000"/>
                    <a:lumOff val="40000"/>
                  </a:srgb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Overdependence on Imports</a:t>
            </a:r>
          </a:p>
          <a:p>
            <a:pPr lvl="1">
              <a:spcBef>
                <a:spcPct val="50000"/>
              </a:spcBef>
              <a:buClr>
                <a:srgbClr val="8AB833">
                  <a:lumMod val="75000"/>
                </a:srgbClr>
              </a:buClr>
            </a:pPr>
            <a:r>
              <a:rPr lang="en-US" sz="2000" dirty="0" smtClean="0">
                <a:solidFill>
                  <a:srgbClr val="455F51">
                    <a:lumMod val="60000"/>
                    <a:lumOff val="40000"/>
                  </a:srgb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Huge Infrastructure deficit</a:t>
            </a:r>
          </a:p>
          <a:p>
            <a:pPr lvl="1">
              <a:spcBef>
                <a:spcPct val="50000"/>
              </a:spcBef>
              <a:buClr>
                <a:srgbClr val="8AB833">
                  <a:lumMod val="75000"/>
                </a:srgbClr>
              </a:buClr>
            </a:pPr>
            <a:r>
              <a:rPr lang="en-US" sz="2000" dirty="0" smtClean="0">
                <a:solidFill>
                  <a:srgbClr val="455F51">
                    <a:lumMod val="60000"/>
                    <a:lumOff val="40000"/>
                  </a:srgb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ecurity Concerns</a:t>
            </a:r>
          </a:p>
          <a:p>
            <a:pPr lvl="1">
              <a:spcBef>
                <a:spcPct val="50000"/>
              </a:spcBef>
              <a:buClr>
                <a:srgbClr val="8AB833">
                  <a:lumMod val="75000"/>
                </a:srgbClr>
              </a:buClr>
            </a:pPr>
            <a:r>
              <a:rPr lang="en-US" sz="2000" dirty="0" smtClean="0">
                <a:solidFill>
                  <a:srgbClr val="455F51">
                    <a:lumMod val="60000"/>
                    <a:lumOff val="40000"/>
                  </a:srgb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High Cost of Doing Business</a:t>
            </a:r>
          </a:p>
          <a:p>
            <a:pPr lvl="1">
              <a:spcBef>
                <a:spcPct val="50000"/>
              </a:spcBef>
              <a:buClr>
                <a:srgbClr val="8AB833">
                  <a:lumMod val="75000"/>
                </a:srgbClr>
              </a:buClr>
            </a:pPr>
            <a:r>
              <a:rPr lang="en-US" sz="2000" dirty="0" smtClean="0">
                <a:solidFill>
                  <a:srgbClr val="455F51">
                    <a:lumMod val="60000"/>
                    <a:lumOff val="40000"/>
                  </a:srgb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Incidences of Corruption </a:t>
            </a:r>
          </a:p>
          <a:p>
            <a:pPr lvl="1">
              <a:spcBef>
                <a:spcPct val="50000"/>
              </a:spcBef>
              <a:buClr>
                <a:srgbClr val="8AB833">
                  <a:lumMod val="75000"/>
                </a:srgbClr>
              </a:buClr>
            </a:pPr>
            <a:r>
              <a:rPr lang="en-US" sz="2000" dirty="0" smtClean="0">
                <a:solidFill>
                  <a:srgbClr val="455F51">
                    <a:lumMod val="60000"/>
                    <a:lumOff val="40000"/>
                  </a:srgb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Inadequate Fund to Finance Long-term Investment</a:t>
            </a:r>
          </a:p>
          <a:p>
            <a:pPr lvl="1">
              <a:spcBef>
                <a:spcPct val="50000"/>
              </a:spcBef>
              <a:buClr>
                <a:srgbClr val="8AB833">
                  <a:lumMod val="75000"/>
                </a:srgbClr>
              </a:buClr>
            </a:pPr>
            <a:endParaRPr lang="en-US" sz="1600" b="1" dirty="0" smtClean="0">
              <a:solidFill>
                <a:srgbClr val="8AB833">
                  <a:lumMod val="75000"/>
                </a:srgb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lvl="1">
              <a:spcBef>
                <a:spcPct val="50000"/>
              </a:spcBef>
              <a:buClr>
                <a:srgbClr val="8AB833">
                  <a:lumMod val="75000"/>
                </a:srgbClr>
              </a:buClr>
            </a:pPr>
            <a:endParaRPr lang="en-US" sz="1600" b="1" dirty="0" smtClean="0">
              <a:solidFill>
                <a:srgbClr val="8AB833">
                  <a:lumMod val="75000"/>
                </a:srgbClr>
              </a:solidFill>
              <a:latin typeface="Calibri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487198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489274" y="1175569"/>
            <a:ext cx="8474253" cy="50398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429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586" lvl="1" indent="-195966" defTabSz="913429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31" lvl="2" indent="-267227" defTabSz="913429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768" lvl="3" indent="-158716" defTabSz="913429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4947" lvl="4" indent="-132804" defTabSz="913429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620" lvl="1" indent="0">
              <a:spcBef>
                <a:spcPct val="50000"/>
              </a:spcBef>
              <a:buClr>
                <a:schemeClr val="accent2">
                  <a:lumMod val="75000"/>
                </a:schemeClr>
              </a:buClr>
              <a:buFont typeface="Arial" charset="0"/>
              <a:buNone/>
            </a:pPr>
            <a:r>
              <a:rPr lang="en-GB" sz="1600" dirty="0" smtClean="0">
                <a:solidFill>
                  <a:srgbClr val="000000"/>
                </a:solidFill>
                <a:latin typeface="Calibri"/>
                <a:cs typeface="+mn-cs"/>
              </a:rPr>
              <a:t>To </a:t>
            </a:r>
            <a:r>
              <a:rPr lang="en-GB" sz="1600" dirty="0">
                <a:solidFill>
                  <a:srgbClr val="000000"/>
                </a:solidFill>
                <a:latin typeface="Calibri"/>
                <a:cs typeface="+mn-cs"/>
              </a:rPr>
              <a:t>ensure a sustainable and conducive business </a:t>
            </a:r>
            <a:r>
              <a:rPr lang="en-GB" sz="1600" dirty="0" smtClean="0">
                <a:solidFill>
                  <a:srgbClr val="000000"/>
                </a:solidFill>
                <a:latin typeface="Calibri"/>
                <a:cs typeface="+mn-cs"/>
              </a:rPr>
              <a:t>environment</a:t>
            </a:r>
            <a:endParaRPr lang="en-ZA" sz="1600" dirty="0" smtClean="0">
              <a:solidFill>
                <a:srgbClr val="000000"/>
              </a:solidFill>
              <a:latin typeface="Calibri"/>
              <a:cs typeface="+mn-cs"/>
            </a:endParaRPr>
          </a:p>
          <a:p>
            <a:pPr lvl="1">
              <a:spcBef>
                <a:spcPct val="50000"/>
              </a:spcBef>
              <a:buClr>
                <a:schemeClr val="accent2">
                  <a:lumMod val="75000"/>
                </a:schemeClr>
              </a:buClr>
            </a:pPr>
            <a:r>
              <a:rPr lang="en-US" sz="1600" b="1" dirty="0" smtClean="0">
                <a:solidFill>
                  <a:schemeClr val="accent2">
                    <a:lumMod val="75000"/>
                  </a:schemeClr>
                </a:solidFill>
                <a:latin typeface="Calibri"/>
                <a:ea typeface="Arial Unicode MS" panose="020B0604020202020204" pitchFamily="34" charset="-128"/>
                <a:cs typeface="Arial Unicode MS" panose="020B0604020202020204" pitchFamily="34" charset="-128"/>
              </a:rPr>
              <a:t>Corporate and Allied Matters Act of 1990</a:t>
            </a:r>
          </a:p>
          <a:p>
            <a:pPr lvl="2">
              <a:spcBef>
                <a:spcPct val="50000"/>
              </a:spcBef>
              <a:buClr>
                <a:schemeClr val="accent2">
                  <a:lumMod val="75000"/>
                </a:schemeClr>
              </a:buClr>
            </a:pPr>
            <a:r>
              <a:rPr lang="en-GB" sz="1600" dirty="0" smtClean="0">
                <a:solidFill>
                  <a:srgbClr val="000000"/>
                </a:solidFill>
                <a:latin typeface="Calibri"/>
                <a:ea typeface="Arial Unicode MS" panose="020B0604020202020204" pitchFamily="34" charset="-128"/>
                <a:cs typeface="Arial Unicode MS" panose="020B0604020202020204" pitchFamily="34" charset="-128"/>
              </a:rPr>
              <a:t>All </a:t>
            </a:r>
            <a:r>
              <a:rPr lang="en-GB" sz="1600" dirty="0">
                <a:solidFill>
                  <a:srgbClr val="000000"/>
                </a:solidFill>
                <a:latin typeface="Calibri"/>
                <a:ea typeface="Arial Unicode MS" panose="020B0604020202020204" pitchFamily="34" charset="-128"/>
                <a:cs typeface="Arial Unicode MS" panose="020B0604020202020204" pitchFamily="34" charset="-128"/>
              </a:rPr>
              <a:t>enterprises must be registered with the Corporate Affairs Commission (CAC)</a:t>
            </a:r>
          </a:p>
          <a:p>
            <a:pPr lvl="1">
              <a:spcBef>
                <a:spcPct val="50000"/>
              </a:spcBef>
              <a:buClr>
                <a:schemeClr val="accent2">
                  <a:lumMod val="75000"/>
                </a:schemeClr>
              </a:buClr>
            </a:pPr>
            <a:r>
              <a:rPr lang="en-US" sz="1600" b="1" dirty="0" smtClean="0">
                <a:solidFill>
                  <a:schemeClr val="accent2">
                    <a:lumMod val="75000"/>
                  </a:schemeClr>
                </a:solidFill>
                <a:latin typeface="Calibri"/>
                <a:ea typeface="Arial Unicode MS" panose="020B0604020202020204" pitchFamily="34" charset="-128"/>
                <a:cs typeface="Arial Unicode MS" panose="020B0604020202020204" pitchFamily="34" charset="-128"/>
              </a:rPr>
              <a:t>The Nigerian Investment Promotion Commission Act 16 of 1995</a:t>
            </a:r>
          </a:p>
          <a:p>
            <a:pPr lvl="2">
              <a:spcBef>
                <a:spcPct val="50000"/>
              </a:spcBef>
              <a:buClr>
                <a:schemeClr val="accent2">
                  <a:lumMod val="75000"/>
                </a:schemeClr>
              </a:buClr>
            </a:pPr>
            <a:r>
              <a:rPr lang="en-US" sz="1600" dirty="0" smtClean="0">
                <a:solidFill>
                  <a:srgbClr val="000000"/>
                </a:solidFill>
                <a:latin typeface="Calibri"/>
                <a:ea typeface="Arial Unicode MS" panose="020B0604020202020204" pitchFamily="34" charset="-128"/>
                <a:cs typeface="Arial Unicode MS" panose="020B0604020202020204" pitchFamily="34" charset="-128"/>
              </a:rPr>
              <a:t>Allows foreigners to invest and participate in the operation of any Nigerian enterprise without restrictions</a:t>
            </a:r>
            <a:endParaRPr lang="en-US" sz="1600" dirty="0">
              <a:solidFill>
                <a:srgbClr val="000000"/>
              </a:solidFill>
              <a:latin typeface="Calibri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lvl="2">
              <a:spcBef>
                <a:spcPct val="50000"/>
              </a:spcBef>
              <a:buClr>
                <a:schemeClr val="accent2">
                  <a:lumMod val="75000"/>
                </a:schemeClr>
              </a:buClr>
            </a:pPr>
            <a:r>
              <a:rPr lang="en-US" sz="1600" dirty="0" smtClean="0">
                <a:solidFill>
                  <a:srgbClr val="000000"/>
                </a:solidFill>
                <a:latin typeface="Calibri"/>
                <a:ea typeface="Arial Unicode MS" panose="020B0604020202020204" pitchFamily="34" charset="-128"/>
                <a:cs typeface="Arial Unicode MS" panose="020B0604020202020204" pitchFamily="34" charset="-128"/>
              </a:rPr>
              <a:t>Allows 100</a:t>
            </a:r>
            <a:r>
              <a:rPr lang="en-US" sz="1600" dirty="0">
                <a:solidFill>
                  <a:srgbClr val="000000"/>
                </a:solidFill>
                <a:latin typeface="Calibri"/>
                <a:ea typeface="Arial Unicode MS" panose="020B0604020202020204" pitchFamily="34" charset="-128"/>
                <a:cs typeface="Arial Unicode MS" panose="020B0604020202020204" pitchFamily="34" charset="-128"/>
              </a:rPr>
              <a:t>% ownership assured except </a:t>
            </a:r>
            <a:r>
              <a:rPr lang="en-US" sz="1600" dirty="0" smtClean="0">
                <a:solidFill>
                  <a:srgbClr val="000000"/>
                </a:solidFill>
                <a:latin typeface="Calibri"/>
                <a:ea typeface="Arial Unicode MS" panose="020B0604020202020204" pitchFamily="34" charset="-128"/>
                <a:cs typeface="Arial Unicode MS" panose="020B0604020202020204" pitchFamily="34" charset="-128"/>
              </a:rPr>
              <a:t>investments: listed </a:t>
            </a:r>
            <a:r>
              <a:rPr lang="en-US" sz="1600" dirty="0">
                <a:solidFill>
                  <a:srgbClr val="000000"/>
                </a:solidFill>
                <a:latin typeface="Calibri"/>
                <a:ea typeface="Arial Unicode MS" panose="020B0604020202020204" pitchFamily="34" charset="-128"/>
                <a:cs typeface="Arial Unicode MS" panose="020B0604020202020204" pitchFamily="34" charset="-128"/>
              </a:rPr>
              <a:t>under the ‘negative’ </a:t>
            </a:r>
            <a:r>
              <a:rPr lang="en-US" sz="1600" dirty="0" smtClean="0">
                <a:solidFill>
                  <a:srgbClr val="000000"/>
                </a:solidFill>
                <a:latin typeface="Calibri"/>
                <a:ea typeface="Arial Unicode MS" panose="020B0604020202020204" pitchFamily="34" charset="-128"/>
                <a:cs typeface="Arial Unicode MS" panose="020B0604020202020204" pitchFamily="34" charset="-128"/>
              </a:rPr>
              <a:t>lists or covered </a:t>
            </a:r>
            <a:r>
              <a:rPr lang="en-US" sz="1600" dirty="0">
                <a:solidFill>
                  <a:srgbClr val="000000"/>
                </a:solidFill>
                <a:latin typeface="Calibri"/>
                <a:ea typeface="Arial Unicode MS" panose="020B0604020202020204" pitchFamily="34" charset="-128"/>
                <a:cs typeface="Arial Unicode MS" panose="020B0604020202020204" pitchFamily="34" charset="-128"/>
              </a:rPr>
              <a:t>by the Nigerian Content and Cabotage </a:t>
            </a:r>
            <a:r>
              <a:rPr lang="en-US" sz="1600" dirty="0" smtClean="0">
                <a:solidFill>
                  <a:srgbClr val="000000"/>
                </a:solidFill>
                <a:latin typeface="Calibri"/>
                <a:ea typeface="Arial Unicode MS" panose="020B0604020202020204" pitchFamily="34" charset="-128"/>
                <a:cs typeface="Arial Unicode MS" panose="020B0604020202020204" pitchFamily="34" charset="-128"/>
              </a:rPr>
              <a:t>Acts</a:t>
            </a:r>
            <a:endParaRPr lang="en-US" sz="1600" dirty="0">
              <a:solidFill>
                <a:srgbClr val="000000"/>
              </a:solidFill>
              <a:latin typeface="Calibri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lvl="2">
              <a:spcBef>
                <a:spcPct val="50000"/>
              </a:spcBef>
              <a:buClr>
                <a:schemeClr val="accent2">
                  <a:lumMod val="75000"/>
                </a:schemeClr>
              </a:buClr>
            </a:pPr>
            <a:r>
              <a:rPr lang="en-US" sz="1600" dirty="0" smtClean="0">
                <a:solidFill>
                  <a:srgbClr val="000000"/>
                </a:solidFill>
                <a:latin typeface="Calibri"/>
                <a:ea typeface="Arial Unicode MS" panose="020B0604020202020204" pitchFamily="34" charset="-128"/>
                <a:cs typeface="Arial Unicode MS" panose="020B0604020202020204" pitchFamily="34" charset="-128"/>
              </a:rPr>
              <a:t>Protects against expropriation of </a:t>
            </a:r>
            <a:r>
              <a:rPr lang="en-US" sz="1600" dirty="0">
                <a:solidFill>
                  <a:srgbClr val="000000"/>
                </a:solidFill>
                <a:latin typeface="Calibri"/>
                <a:ea typeface="Arial Unicode MS" panose="020B0604020202020204" pitchFamily="34" charset="-128"/>
                <a:cs typeface="Arial Unicode MS" panose="020B0604020202020204" pitchFamily="34" charset="-128"/>
              </a:rPr>
              <a:t>i</a:t>
            </a:r>
            <a:r>
              <a:rPr lang="en-US" sz="1600" dirty="0" smtClean="0">
                <a:solidFill>
                  <a:srgbClr val="000000"/>
                </a:solidFill>
                <a:latin typeface="Calibri"/>
                <a:ea typeface="Arial Unicode MS" panose="020B0604020202020204" pitchFamily="34" charset="-128"/>
                <a:cs typeface="Arial Unicode MS" panose="020B0604020202020204" pitchFamily="34" charset="-128"/>
              </a:rPr>
              <a:t>nvestment</a:t>
            </a:r>
            <a:r>
              <a:rPr lang="en-US" sz="1600" dirty="0">
                <a:solidFill>
                  <a:srgbClr val="000000"/>
                </a:solidFill>
                <a:latin typeface="Calibri"/>
                <a:ea typeface="Arial Unicode MS" panose="020B0604020202020204" pitchFamily="34" charset="-128"/>
                <a:cs typeface="Arial Unicode MS" panose="020B0604020202020204" pitchFamily="34" charset="-128"/>
              </a:rPr>
              <a:t>: </a:t>
            </a:r>
            <a:r>
              <a:rPr lang="en-US" sz="1600" dirty="0" smtClean="0">
                <a:solidFill>
                  <a:srgbClr val="000000"/>
                </a:solidFill>
                <a:latin typeface="Calibri"/>
                <a:ea typeface="Arial Unicode MS" panose="020B0604020202020204" pitchFamily="34" charset="-128"/>
                <a:cs typeface="Arial Unicode MS" panose="020B0604020202020204" pitchFamily="34" charset="-128"/>
              </a:rPr>
              <a:t>NIPC </a:t>
            </a:r>
            <a:r>
              <a:rPr lang="en-US" sz="1600" dirty="0">
                <a:solidFill>
                  <a:srgbClr val="000000"/>
                </a:solidFill>
                <a:latin typeface="Calibri"/>
                <a:ea typeface="Arial Unicode MS" panose="020B0604020202020204" pitchFamily="34" charset="-128"/>
                <a:cs typeface="Arial Unicode MS" panose="020B0604020202020204" pitchFamily="34" charset="-128"/>
              </a:rPr>
              <a:t>Act </a:t>
            </a:r>
            <a:r>
              <a:rPr lang="en-US" sz="1600" dirty="0" smtClean="0">
                <a:solidFill>
                  <a:srgbClr val="000000"/>
                </a:solidFill>
                <a:latin typeface="Calibri"/>
                <a:ea typeface="Arial Unicode MS" panose="020B0604020202020204" pitchFamily="34" charset="-128"/>
                <a:cs typeface="Arial Unicode MS" panose="020B0604020202020204" pitchFamily="34" charset="-128"/>
              </a:rPr>
              <a:t>guarantees no </a:t>
            </a:r>
            <a:r>
              <a:rPr lang="en-US" sz="1600" dirty="0">
                <a:solidFill>
                  <a:srgbClr val="000000"/>
                </a:solidFill>
                <a:latin typeface="Calibri"/>
                <a:ea typeface="Arial Unicode MS" panose="020B0604020202020204" pitchFamily="34" charset="-128"/>
                <a:cs typeface="Arial Unicode MS" panose="020B0604020202020204" pitchFamily="34" charset="-128"/>
              </a:rPr>
              <a:t>enterprise shall be nationalized expropriated by any government of the </a:t>
            </a:r>
            <a:r>
              <a:rPr lang="en-US" sz="1600" dirty="0" smtClean="0">
                <a:solidFill>
                  <a:srgbClr val="000000"/>
                </a:solidFill>
                <a:latin typeface="Calibri"/>
                <a:ea typeface="Arial Unicode MS" panose="020B0604020202020204" pitchFamily="34" charset="-128"/>
                <a:cs typeface="Arial Unicode MS" panose="020B0604020202020204" pitchFamily="34" charset="-128"/>
              </a:rPr>
              <a:t>Federation</a:t>
            </a:r>
          </a:p>
          <a:p>
            <a:pPr lvl="2">
              <a:spcBef>
                <a:spcPct val="50000"/>
              </a:spcBef>
              <a:buClr>
                <a:schemeClr val="accent2">
                  <a:lumMod val="75000"/>
                </a:schemeClr>
              </a:buClr>
            </a:pPr>
            <a:r>
              <a:rPr lang="en-US" sz="1600" dirty="0" smtClean="0">
                <a:solidFill>
                  <a:srgbClr val="000000"/>
                </a:solidFill>
                <a:latin typeface="Calibri"/>
                <a:ea typeface="Arial Unicode MS" panose="020B0604020202020204" pitchFamily="34" charset="-128"/>
                <a:cs typeface="Arial Unicode MS" panose="020B0604020202020204" pitchFamily="34" charset="-128"/>
              </a:rPr>
              <a:t>Special Incentives: The Act empowered the NIPC (Nigeria IPA) to negotiate, in consultation with appropriate Government agencies, special incentives for strategic or major investments </a:t>
            </a:r>
          </a:p>
          <a:p>
            <a:pPr lvl="2">
              <a:spcBef>
                <a:spcPct val="50000"/>
              </a:spcBef>
              <a:buClr>
                <a:schemeClr val="accent2">
                  <a:lumMod val="75000"/>
                </a:schemeClr>
              </a:buClr>
            </a:pPr>
            <a:endParaRPr lang="en-US" sz="400" dirty="0">
              <a:solidFill>
                <a:srgbClr val="000000"/>
              </a:solidFill>
              <a:latin typeface="Calibri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lvl="1">
              <a:spcBef>
                <a:spcPct val="50000"/>
              </a:spcBef>
              <a:buClr>
                <a:schemeClr val="accent2">
                  <a:lumMod val="75000"/>
                </a:schemeClr>
              </a:buClr>
            </a:pPr>
            <a:r>
              <a:rPr lang="en-US" sz="1600" b="1" dirty="0" smtClean="0">
                <a:solidFill>
                  <a:schemeClr val="accent2">
                    <a:lumMod val="75000"/>
                  </a:schemeClr>
                </a:solidFill>
                <a:latin typeface="Calibri"/>
                <a:ea typeface="Arial Unicode MS" panose="020B0604020202020204" pitchFamily="34" charset="-128"/>
                <a:cs typeface="Arial Unicode MS" panose="020B0604020202020204" pitchFamily="34" charset="-128"/>
              </a:rPr>
              <a:t>The </a:t>
            </a:r>
            <a:r>
              <a:rPr lang="en-US" sz="1600" b="1" dirty="0">
                <a:solidFill>
                  <a:schemeClr val="accent2">
                    <a:lumMod val="75000"/>
                  </a:schemeClr>
                </a:solidFill>
                <a:latin typeface="Calibri"/>
                <a:ea typeface="Arial Unicode MS" panose="020B0604020202020204" pitchFamily="34" charset="-128"/>
                <a:cs typeface="Arial Unicode MS" panose="020B0604020202020204" pitchFamily="34" charset="-128"/>
              </a:rPr>
              <a:t>Foreign Exchange (Monitoring &amp; Miscellaneous Provisions) Act 17 of 1995</a:t>
            </a:r>
          </a:p>
          <a:p>
            <a:pPr lvl="2">
              <a:spcBef>
                <a:spcPct val="50000"/>
              </a:spcBef>
              <a:buClr>
                <a:schemeClr val="accent2">
                  <a:lumMod val="75000"/>
                </a:schemeClr>
              </a:buClr>
            </a:pPr>
            <a:r>
              <a:rPr lang="en-US" sz="1600" dirty="0" smtClean="0">
                <a:solidFill>
                  <a:srgbClr val="000000"/>
                </a:solidFill>
                <a:latin typeface="Calibri"/>
                <a:ea typeface="Arial Unicode MS" panose="020B0604020202020204" pitchFamily="34" charset="-128"/>
                <a:cs typeface="Arial Unicode MS" panose="020B0604020202020204" pitchFamily="34" charset="-128"/>
              </a:rPr>
              <a:t>Allows repatriation </a:t>
            </a:r>
            <a:r>
              <a:rPr lang="en-US" sz="1600" dirty="0">
                <a:solidFill>
                  <a:srgbClr val="000000"/>
                </a:solidFill>
                <a:latin typeface="Calibri"/>
                <a:ea typeface="Arial Unicode MS" panose="020B0604020202020204" pitchFamily="34" charset="-128"/>
                <a:cs typeface="Arial Unicode MS" panose="020B0604020202020204" pitchFamily="34" charset="-128"/>
              </a:rPr>
              <a:t>of Profit: investors are free to repatriate their profits and dividends net of taxes through any authorized dealer in freely convertible currency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8392794" y="1080277"/>
            <a:ext cx="1141466" cy="996042"/>
          </a:xfrm>
          <a:prstGeom prst="roundRect">
            <a:avLst>
              <a:gd name="adj" fmla="val 10000"/>
            </a:avLst>
          </a:prstGeom>
          <a:blipFill rotWithShape="1">
            <a:blip r:embed="rId2" cstate="print"/>
            <a:stretch>
              <a:fillRect/>
            </a:stretch>
          </a:blipFill>
        </p:spPr>
        <p:style>
          <a:lnRef idx="1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National investment law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5047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/>
          <p:cNvGrpSpPr/>
          <p:nvPr/>
        </p:nvGrpSpPr>
        <p:grpSpPr>
          <a:xfrm>
            <a:off x="558800" y="1002283"/>
            <a:ext cx="8991600" cy="5070395"/>
            <a:chOff x="713246" y="1042695"/>
            <a:chExt cx="7763506" cy="4969446"/>
          </a:xfrm>
        </p:grpSpPr>
        <p:pic>
          <p:nvPicPr>
            <p:cNvPr id="37" name="Picture 36"/>
            <p:cNvPicPr>
              <a:picLocks noChangeAspect="1"/>
            </p:cNvPicPr>
            <p:nvPr/>
          </p:nvPicPr>
          <p:blipFill rotWithShape="1">
            <a:blip r:embed="rId4"/>
            <a:srcRect l="47844" t="11005" r="13828" b="12262"/>
            <a:stretch/>
          </p:blipFill>
          <p:spPr>
            <a:xfrm>
              <a:off x="713246" y="2459719"/>
              <a:ext cx="1298257" cy="1303666"/>
            </a:xfrm>
            <a:prstGeom prst="ellipse">
              <a:avLst/>
            </a:prstGeom>
          </p:spPr>
        </p:pic>
        <p:sp>
          <p:nvSpPr>
            <p:cNvPr id="46" name="TextBox 8"/>
            <p:cNvSpPr txBox="1">
              <a:spLocks/>
            </p:cNvSpPr>
            <p:nvPr>
              <p:custDataLst>
                <p:tags r:id="rId1"/>
              </p:custDataLst>
            </p:nvPr>
          </p:nvSpPr>
          <p:spPr>
            <a:xfrm>
              <a:off x="2207854" y="2936492"/>
              <a:ext cx="6268898" cy="353057"/>
            </a:xfrm>
            <a:prstGeom prst="rect">
              <a:avLst/>
            </a:prstGeom>
            <a:gradFill flip="none" rotWithShape="1">
              <a:gsLst>
                <a:gs pos="0">
                  <a:schemeClr val="accent2">
                    <a:lumMod val="75000"/>
                    <a:shade val="30000"/>
                    <a:satMod val="115000"/>
                  </a:schemeClr>
                </a:gs>
                <a:gs pos="50000">
                  <a:schemeClr val="accent2">
                    <a:lumMod val="75000"/>
                    <a:shade val="67500"/>
                    <a:satMod val="115000"/>
                  </a:schemeClr>
                </a:gs>
                <a:gs pos="100000">
                  <a:schemeClr val="accent2">
                    <a:lumMod val="75000"/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9525" algn="ctr">
              <a:noFill/>
              <a:miter lim="800000"/>
              <a:headEnd/>
              <a:tailEnd/>
            </a:ln>
            <a:effectLst/>
          </p:spPr>
          <p:txBody>
            <a:bodyPr vert="horz" wrap="square" lIns="71692" tIns="71692" rIns="71692" bIns="71692" numCol="1" anchor="ctr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>
                <a:defRPr sz="1800" b="1">
                  <a:solidFill>
                    <a:schemeClr val="bg1"/>
                  </a:solidFill>
                  <a:latin typeface="+mn-lt"/>
                  <a:cs typeface="Arial" pitchFamily="34" charset="0"/>
                </a:defRPr>
              </a:lvl1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cs typeface="Arial" pitchFamily="34" charset="0"/>
                </a:rPr>
                <a:t>Services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Arial" pitchFamily="34" charset="0"/>
              </a:endParaRPr>
            </a:p>
          </p:txBody>
        </p:sp>
        <p:sp>
          <p:nvSpPr>
            <p:cNvPr id="47" name="TextBox 46"/>
            <p:cNvSpPr txBox="1">
              <a:spLocks/>
            </p:cNvSpPr>
            <p:nvPr/>
          </p:nvSpPr>
          <p:spPr>
            <a:xfrm>
              <a:off x="2191078" y="3372708"/>
              <a:ext cx="6268898" cy="26394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429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586" lvl="1" indent="-195966" defTabSz="913429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31" lvl="2" indent="-267227" defTabSz="913429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768" lvl="3" indent="-158716" defTabSz="913429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4947" lvl="4" indent="-132804" defTabSz="913429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97586" marR="0" lvl="1" indent="-195966" defTabSz="913429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chemeClr val="accent2">
                    <a:lumMod val="75000"/>
                  </a:schemeClr>
                </a:buClr>
                <a:buSzPct val="125000"/>
                <a:buFont typeface="Arial" charset="0"/>
                <a:buChar char="▪"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cs typeface="+mn-cs"/>
                </a:rPr>
                <a:t>Provision of investment information</a:t>
              </a:r>
            </a:p>
            <a:p>
              <a:pPr marL="197586" marR="0" lvl="1" indent="-195966" defTabSz="913429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chemeClr val="accent2">
                    <a:lumMod val="75000"/>
                  </a:schemeClr>
                </a:buClr>
                <a:buSzPct val="125000"/>
                <a:buFont typeface="Arial" charset="0"/>
                <a:buChar char="▪"/>
                <a:tabLst/>
                <a:defRPr/>
              </a:pPr>
              <a:r>
                <a:rPr lang="en-US" sz="1400" kern="0" dirty="0" smtClean="0">
                  <a:solidFill>
                    <a:srgbClr val="000000"/>
                  </a:solidFill>
                  <a:latin typeface="Calibri"/>
                  <a:cs typeface="+mn-cs"/>
                </a:rPr>
                <a:t>Matchmaking investors with opportunities and partners</a:t>
              </a:r>
            </a:p>
            <a:p>
              <a:pPr marL="197586" marR="0" lvl="1" indent="-195966" defTabSz="913429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chemeClr val="accent2">
                    <a:lumMod val="75000"/>
                  </a:schemeClr>
                </a:buClr>
                <a:buSzPct val="125000"/>
                <a:buFont typeface="Arial" charset="0"/>
                <a:buChar char="▪"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cs typeface="+mn-cs"/>
                </a:rPr>
                <a:t>One-Stop </a:t>
              </a: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cs typeface="+mn-cs"/>
                </a:rPr>
                <a:t>I</a:t>
              </a: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cs typeface="+mn-cs"/>
                </a:rPr>
                <a:t>nvestment Centre</a:t>
              </a:r>
              <a:endParaRPr lang="en-US" sz="1400" kern="0" noProof="0" dirty="0">
                <a:solidFill>
                  <a:srgbClr val="000000"/>
                </a:solidFill>
                <a:latin typeface="Calibri"/>
                <a:cs typeface="+mn-cs"/>
              </a:endParaRPr>
            </a:p>
            <a:p>
              <a:pPr marL="556215" lvl="2" indent="-285750" fontAlgn="auto">
                <a:spcBef>
                  <a:spcPct val="50000"/>
                </a:spcBef>
                <a:spcAft>
                  <a:spcPts val="0"/>
                </a:spcAft>
                <a:buClr>
                  <a:schemeClr val="accent2">
                    <a:lumMod val="75000"/>
                  </a:schemeClr>
                </a:buClr>
                <a:buSzPct val="125000"/>
                <a:buFont typeface="Wingdings" pitchFamily="2" charset="2"/>
                <a:buChar char="§"/>
                <a:defRPr/>
              </a:pPr>
              <a:r>
                <a:rPr lang="en-US" sz="1400" kern="0" noProof="0" dirty="0">
                  <a:solidFill>
                    <a:srgbClr val="000000"/>
                  </a:solidFill>
                  <a:latin typeface="Calibri"/>
                  <a:cs typeface="+mn-cs"/>
                </a:rPr>
                <a:t>C</a:t>
              </a: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cs typeface="+mn-cs"/>
                </a:rPr>
                <a:t>onnected </a:t>
              </a: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cs typeface="+mn-cs"/>
                </a:rPr>
                <a:t>to </a:t>
              </a: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3E5020"/>
                  </a:solidFill>
                  <a:effectLst/>
                  <a:uLnTx/>
                  <a:uFillTx/>
                  <a:latin typeface="Calibri"/>
                  <a:cs typeface="+mn-cs"/>
                </a:rPr>
                <a:t>27 agencies </a:t>
              </a: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cs typeface="+mn-cs"/>
                </a:rPr>
                <a:t>to facilitate investments </a:t>
              </a: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3E5020"/>
                  </a:solidFill>
                  <a:effectLst/>
                  <a:uLnTx/>
                  <a:uFillTx/>
                  <a:latin typeface="Calibri"/>
                  <a:cs typeface="+mn-cs"/>
                </a:rPr>
                <a:t>and reduce time required</a:t>
              </a: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cs typeface="+mn-cs"/>
                </a:rPr>
                <a:t> to commence business </a:t>
              </a: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cs typeface="+mn-cs"/>
                </a:rPr>
                <a:t>operations</a:t>
              </a:r>
            </a:p>
            <a:p>
              <a:pPr marL="556215" lvl="2" indent="-285750" fontAlgn="auto">
                <a:spcBef>
                  <a:spcPct val="50000"/>
                </a:spcBef>
                <a:spcAft>
                  <a:spcPts val="0"/>
                </a:spcAft>
                <a:buClr>
                  <a:schemeClr val="accent2">
                    <a:lumMod val="75000"/>
                  </a:schemeClr>
                </a:buClr>
                <a:buSzPct val="125000"/>
                <a:buFont typeface="Wingdings" pitchFamily="2" charset="2"/>
                <a:buChar char="§"/>
                <a:defRPr/>
              </a:pPr>
              <a:r>
                <a:rPr lang="en-US" sz="1400" kern="0" dirty="0" smtClean="0">
                  <a:solidFill>
                    <a:srgbClr val="000000"/>
                  </a:solidFill>
                  <a:latin typeface="Calibri"/>
                  <a:cs typeface="+mn-cs"/>
                </a:rPr>
                <a:t>Provide assistance with company incorporation processes</a:t>
              </a: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556215" lvl="2" indent="-285750" fontAlgn="auto">
                <a:spcBef>
                  <a:spcPct val="50000"/>
                </a:spcBef>
                <a:spcAft>
                  <a:spcPts val="0"/>
                </a:spcAft>
                <a:buClr>
                  <a:schemeClr val="accent2">
                    <a:lumMod val="75000"/>
                  </a:schemeClr>
                </a:buClr>
                <a:buSzPct val="125000"/>
                <a:buFont typeface="Wingdings" pitchFamily="2" charset="2"/>
                <a:buChar char="§"/>
                <a:defRPr/>
              </a:pPr>
              <a:r>
                <a:rPr lang="en-US" sz="1400" kern="0" dirty="0" smtClean="0">
                  <a:solidFill>
                    <a:srgbClr val="000000"/>
                  </a:solidFill>
                  <a:latin typeface="Calibri"/>
                  <a:cs typeface="+mn-cs"/>
                </a:rPr>
                <a:t>Process regulatory approvals and permits</a:t>
              </a:r>
            </a:p>
            <a:p>
              <a:pPr marL="556215" lvl="2" indent="-285750" fontAlgn="auto">
                <a:spcBef>
                  <a:spcPct val="50000"/>
                </a:spcBef>
                <a:spcAft>
                  <a:spcPts val="0"/>
                </a:spcAft>
                <a:buClr>
                  <a:schemeClr val="accent2">
                    <a:lumMod val="75000"/>
                  </a:schemeClr>
                </a:buClr>
                <a:buSzPct val="125000"/>
                <a:buFont typeface="Wingdings" pitchFamily="2" charset="2"/>
                <a:buChar char="§"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cs typeface="+mn-cs"/>
                </a:rPr>
                <a:t>Support with issuance of visas on arrival</a:t>
              </a:r>
            </a:p>
            <a:p>
              <a:pPr marL="197586" marR="0" lvl="1" indent="-195966" defTabSz="913429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>
                  <a:schemeClr val="accent2">
                    <a:lumMod val="75000"/>
                  </a:schemeClr>
                </a:buClr>
                <a:buSzPct val="125000"/>
                <a:buFont typeface="Arial" charset="0"/>
                <a:buChar char="▪"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cs typeface="+mn-cs"/>
                </a:rPr>
                <a:t>Administration / processing of Pioneer Status Incentive</a:t>
              </a: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+mn-cs"/>
              </a:endParaRPr>
            </a:p>
          </p:txBody>
        </p:sp>
        <p:grpSp>
          <p:nvGrpSpPr>
            <p:cNvPr id="48" name="Group 47"/>
            <p:cNvGrpSpPr/>
            <p:nvPr/>
          </p:nvGrpSpPr>
          <p:grpSpPr>
            <a:xfrm>
              <a:off x="2185131" y="1042695"/>
              <a:ext cx="6291621" cy="1817485"/>
              <a:chOff x="2185131" y="786704"/>
              <a:chExt cx="6291621" cy="1817485"/>
            </a:xfrm>
          </p:grpSpPr>
          <p:sp>
            <p:nvSpPr>
              <p:cNvPr id="50" name="Rectangle 39"/>
              <p:cNvSpPr txBox="1">
                <a:spLocks/>
              </p:cNvSpPr>
              <p:nvPr/>
            </p:nvSpPr>
            <p:spPr>
              <a:xfrm>
                <a:off x="5104758" y="1581618"/>
                <a:ext cx="61" cy="24131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marL="0" marR="0" lvl="0" indent="0" defTabSz="89535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3D3D3D"/>
                  </a:buClr>
                  <a:buSzTx/>
                  <a:buFontTx/>
                  <a:buNone/>
                  <a:tabLst/>
                  <a:defRPr/>
                </a:pPr>
                <a:endPara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3D3D3D"/>
                  </a:solidFill>
                  <a:effectLst/>
                  <a:uLnTx/>
                  <a:uFillTx/>
                  <a:latin typeface="Calibri"/>
                  <a:cs typeface="+mn-cs"/>
                </a:endParaRPr>
              </a:p>
            </p:txBody>
          </p:sp>
          <p:sp>
            <p:nvSpPr>
              <p:cNvPr id="51" name="TextBox 8"/>
              <p:cNvSpPr txBox="1">
                <a:spLocks/>
              </p:cNvSpPr>
              <p:nvPr>
                <p:custDataLst>
                  <p:tags r:id="rId2"/>
                </p:custDataLst>
              </p:nvPr>
            </p:nvSpPr>
            <p:spPr>
              <a:xfrm>
                <a:off x="2191078" y="786704"/>
                <a:ext cx="6268898" cy="353057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2">
                      <a:lumMod val="75000"/>
                      <a:shade val="30000"/>
                      <a:satMod val="115000"/>
                    </a:schemeClr>
                  </a:gs>
                  <a:gs pos="50000">
                    <a:schemeClr val="accent2">
                      <a:lumMod val="75000"/>
                      <a:shade val="67500"/>
                      <a:satMod val="115000"/>
                    </a:schemeClr>
                  </a:gs>
                  <a:gs pos="100000">
                    <a:schemeClr val="accent2">
                      <a:lumMod val="75000"/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71692" tIns="71692" rIns="71692" bIns="71692" numCol="1" anchor="ctr" anchorCtr="0" compatLnSpc="1">
                <a:prstTxWarp prst="textNoShape">
                  <a:avLst/>
                </a:prstTxWarp>
                <a:spAutoFit/>
              </a:bodyPr>
              <a:lstStyle>
                <a:defPPr>
                  <a:defRPr lang="en-US"/>
                </a:defPPr>
                <a:lvl1pPr>
                  <a:defRPr b="1">
                    <a:solidFill>
                      <a:schemeClr val="bg1"/>
                    </a:solidFill>
                    <a:latin typeface="+mn-lt"/>
                    <a:cs typeface="Arial" pitchFamily="34" charset="0"/>
                  </a:defRPr>
                </a:lvl1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400" kern="0" dirty="0" smtClean="0">
                    <a:solidFill>
                      <a:srgbClr val="FFFFFF"/>
                    </a:solidFill>
                    <a:latin typeface="Calibri"/>
                  </a:rPr>
                  <a:t>Strategic Roles</a:t>
                </a:r>
                <a:endPara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cs typeface="Arial" pitchFamily="34" charset="0"/>
                </a:endParaRPr>
              </a:p>
            </p:txBody>
          </p:sp>
          <p:sp>
            <p:nvSpPr>
              <p:cNvPr id="52" name="TextBox 51"/>
              <p:cNvSpPr txBox="1">
                <a:spLocks/>
              </p:cNvSpPr>
              <p:nvPr/>
            </p:nvSpPr>
            <p:spPr>
              <a:xfrm>
                <a:off x="2185131" y="1126110"/>
                <a:ext cx="6291621" cy="147807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913429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7586" lvl="1" indent="-195966" defTabSz="913429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66431" lvl="2" indent="-267227" defTabSz="913429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26768" lvl="3" indent="-158716" defTabSz="913429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64947" lvl="4" indent="-132804" defTabSz="913429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64947" indent="-132804" defTabSz="913429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64947" indent="-132804" defTabSz="913429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64947" indent="-132804" defTabSz="913429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64947" indent="-132804" defTabSz="913429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marL="197586" marR="0" lvl="1" indent="-195966" defTabSz="913429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>
                    <a:schemeClr val="accent2">
                      <a:lumMod val="75000"/>
                    </a:schemeClr>
                  </a:buClr>
                  <a:buSzPct val="125000"/>
                  <a:buFont typeface="Arial" charset="0"/>
                  <a:buChar char="▪"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cs typeface="+mn-cs"/>
                  </a:rPr>
                  <a:t>Established</a:t>
                </a:r>
                <a:r>
                  <a:rPr kumimoji="0" lang="en-US" sz="1400" b="0" i="0" u="none" strike="noStrike" kern="0" cap="none" spc="0" normalizeH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cs typeface="+mn-cs"/>
                  </a:rPr>
                  <a:t> by the Nigerian Investment Promotion Commission Act to:</a:t>
                </a:r>
                <a:endPara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cs typeface="+mn-cs"/>
                </a:endParaRPr>
              </a:p>
              <a:p>
                <a:pPr lvl="2" indent="-195966" fontAlgn="auto">
                  <a:spcBef>
                    <a:spcPct val="50000"/>
                  </a:spcBef>
                  <a:spcAft>
                    <a:spcPts val="0"/>
                  </a:spcAft>
                  <a:buClr>
                    <a:schemeClr val="accent2">
                      <a:lumMod val="75000"/>
                    </a:schemeClr>
                  </a:buClr>
                  <a:buSzPct val="125000"/>
                  <a:buFont typeface="Arial" charset="0"/>
                  <a:buChar char="▪"/>
                  <a:defRPr/>
                </a:pPr>
                <a:r>
                  <a:rPr kumimoji="0" lang="en-US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cs typeface="+mn-cs"/>
                  </a:rPr>
                  <a:t>Promote</a:t>
                </a: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cs typeface="+mn-cs"/>
                  </a:rPr>
                  <a:t>, co-ordinate and monitor all investments in Nigeria</a:t>
                </a:r>
              </a:p>
              <a:p>
                <a:pPr lvl="2" indent="-195966" fontAlgn="auto">
                  <a:spcBef>
                    <a:spcPct val="50000"/>
                  </a:spcBef>
                  <a:spcAft>
                    <a:spcPts val="0"/>
                  </a:spcAft>
                  <a:buClr>
                    <a:schemeClr val="accent2">
                      <a:lumMod val="75000"/>
                    </a:schemeClr>
                  </a:buClr>
                  <a:buSzPct val="125000"/>
                  <a:buFont typeface="Arial" charset="0"/>
                  <a:buChar char="▪"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cs typeface="+mn-cs"/>
                  </a:rPr>
                  <a:t>Initiate measures to enhance investment climate</a:t>
                </a:r>
              </a:p>
              <a:p>
                <a:pPr lvl="2" indent="-195966" fontAlgn="auto">
                  <a:spcBef>
                    <a:spcPct val="50000"/>
                  </a:spcBef>
                  <a:spcAft>
                    <a:spcPts val="0"/>
                  </a:spcAft>
                  <a:buClr>
                    <a:schemeClr val="accent2">
                      <a:lumMod val="75000"/>
                    </a:schemeClr>
                  </a:buClr>
                  <a:buSzPct val="125000"/>
                  <a:buFont typeface="Arial" charset="0"/>
                  <a:buChar char="▪"/>
                  <a:defRPr/>
                </a:pPr>
                <a:r>
                  <a:rPr kumimoji="0" lang="en-US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cs typeface="+mn-cs"/>
                  </a:rPr>
                  <a:t>Assist incoming and</a:t>
                </a:r>
                <a:r>
                  <a:rPr kumimoji="0" lang="en-US" sz="1400" b="0" i="0" u="none" strike="noStrike" kern="0" cap="none" spc="0" normalizeH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cs typeface="+mn-cs"/>
                  </a:rPr>
                  <a:t> existing investors by providing support services</a:t>
                </a: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cs typeface="+mn-cs"/>
                </a:endParaRPr>
              </a:p>
              <a:p>
                <a:pPr lvl="2" indent="-195966" fontAlgn="auto">
                  <a:spcBef>
                    <a:spcPct val="50000"/>
                  </a:spcBef>
                  <a:spcAft>
                    <a:spcPts val="0"/>
                  </a:spcAft>
                  <a:buClr>
                    <a:schemeClr val="accent2">
                      <a:lumMod val="75000"/>
                    </a:schemeClr>
                  </a:buClr>
                  <a:buSzPct val="125000"/>
                  <a:buFont typeface="Arial" charset="0"/>
                  <a:buChar char="▪"/>
                  <a:defRPr/>
                </a:pPr>
                <a:r>
                  <a:rPr kumimoji="0" lang="en-US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cs typeface="+mn-cs"/>
                  </a:rPr>
                  <a:t>Collect and </a:t>
                </a: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cs typeface="+mn-cs"/>
                  </a:rPr>
                  <a:t>share information </a:t>
                </a:r>
                <a:r>
                  <a:rPr kumimoji="0" lang="en-US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cs typeface="+mn-cs"/>
                  </a:rPr>
                  <a:t>on investment </a:t>
                </a: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/>
                    <a:cs typeface="+mn-cs"/>
                  </a:rPr>
                  <a:t>opportunities and sources of capital </a:t>
                </a:r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dirty="0">
                <a:latin typeface="Calibri" pitchFamily="34" charset="0"/>
                <a:cs typeface="Calibri" pitchFamily="34" charset="0"/>
              </a:rPr>
              <a:t>Strategic Role of NIPC in the Nigerian </a:t>
            </a:r>
            <a:r>
              <a:rPr lang="en-US" dirty="0" smtClean="0">
                <a:latin typeface="Calibri" pitchFamily="34" charset="0"/>
                <a:cs typeface="Calibri" pitchFamily="34" charset="0"/>
              </a:rPr>
              <a:t>Economy</a:t>
            </a:r>
            <a:endParaRPr lang="en-GB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0899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Oval 78"/>
          <p:cNvSpPr/>
          <p:nvPr/>
        </p:nvSpPr>
        <p:spPr>
          <a:xfrm>
            <a:off x="3378916" y="3228452"/>
            <a:ext cx="884242" cy="888226"/>
          </a:xfrm>
          <a:prstGeom prst="ellipse">
            <a:avLst/>
          </a:prstGeom>
          <a:solidFill>
            <a:srgbClr val="698837"/>
          </a:solidFill>
          <a:ln w="9525" cap="flat" cmpd="sng" algn="ctr">
            <a:solidFill>
              <a:srgbClr val="808080"/>
            </a:solidFill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kern="0" dirty="0" smtClean="0">
                <a:solidFill>
                  <a:srgbClr val="FFFFFF"/>
                </a:solidFill>
                <a:latin typeface="Calibri" panose="020F0502020204030204" pitchFamily="34" charset="0"/>
                <a:ea typeface="Verdana" pitchFamily="34" charset="0"/>
                <a:cs typeface="Verdana" pitchFamily="34" charset="0"/>
              </a:rPr>
              <a:t>NIPC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95629" y="1553391"/>
            <a:ext cx="2504404" cy="739466"/>
            <a:chOff x="295629" y="1440021"/>
            <a:chExt cx="2504404" cy="739466"/>
          </a:xfrm>
        </p:grpSpPr>
        <p:sp>
          <p:nvSpPr>
            <p:cNvPr id="85" name="Rounded Rectangle 84"/>
            <p:cNvSpPr/>
            <p:nvPr/>
          </p:nvSpPr>
          <p:spPr>
            <a:xfrm>
              <a:off x="1094665" y="1478143"/>
              <a:ext cx="1705368" cy="663223"/>
            </a:xfrm>
            <a:prstGeom prst="roundRect">
              <a:avLst/>
            </a:prstGeom>
            <a:solidFill>
              <a:srgbClr val="81A743"/>
            </a:solidFill>
            <a:ln w="9525" cap="flat" cmpd="sng" algn="ctr">
              <a:solidFill>
                <a:srgbClr val="80808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kern="0" dirty="0" smtClean="0">
                  <a:solidFill>
                    <a:srgbClr val="FFFFFF"/>
                  </a:solidFill>
                  <a:latin typeface="Calibri" panose="020F0502020204030204" pitchFamily="34" charset="0"/>
                  <a:ea typeface="Verdana" pitchFamily="34" charset="0"/>
                  <a:cs typeface="Verdana" pitchFamily="34" charset="0"/>
                </a:rPr>
                <a:t>Software development and creative industry</a:t>
              </a:r>
            </a:p>
          </p:txBody>
        </p:sp>
        <p:pic>
          <p:nvPicPr>
            <p:cNvPr id="88" name="Picture 87" descr="bizwoman.jpg"/>
            <p:cNvPicPr>
              <a:picLocks noChangeAspect="1"/>
            </p:cNvPicPr>
            <p:nvPr/>
          </p:nvPicPr>
          <p:blipFill>
            <a:blip r:embed="rId2">
              <a:duotone>
                <a:srgbClr val="698837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5629" y="1440021"/>
              <a:ext cx="799042" cy="739466"/>
            </a:xfrm>
            <a:prstGeom prst="rect">
              <a:avLst/>
            </a:prstGeom>
          </p:spPr>
        </p:pic>
        <p:cxnSp>
          <p:nvCxnSpPr>
            <p:cNvPr id="89" name="Straight Arrow Connector 88"/>
            <p:cNvCxnSpPr/>
            <p:nvPr/>
          </p:nvCxnSpPr>
          <p:spPr>
            <a:xfrm>
              <a:off x="841153" y="1809754"/>
              <a:ext cx="304185" cy="0"/>
            </a:xfrm>
            <a:prstGeom prst="straightConnector1">
              <a:avLst/>
            </a:prstGeom>
            <a:noFill/>
            <a:ln w="9525" cap="flat" cmpd="sng" algn="ctr">
              <a:solidFill>
                <a:srgbClr val="808080"/>
              </a:solidFill>
              <a:prstDash val="solid"/>
              <a:tailEnd type="arrow"/>
            </a:ln>
            <a:effectLst/>
          </p:spPr>
        </p:cxnSp>
      </p:grpSp>
      <p:grpSp>
        <p:nvGrpSpPr>
          <p:cNvPr id="4" name="Group 3"/>
          <p:cNvGrpSpPr/>
          <p:nvPr/>
        </p:nvGrpSpPr>
        <p:grpSpPr>
          <a:xfrm>
            <a:off x="289025" y="5076745"/>
            <a:ext cx="2552993" cy="795865"/>
            <a:chOff x="289025" y="5165645"/>
            <a:chExt cx="2552993" cy="795865"/>
          </a:xfrm>
        </p:grpSpPr>
        <p:sp>
          <p:nvSpPr>
            <p:cNvPr id="87" name="Rounded Rectangle 86"/>
            <p:cNvSpPr/>
            <p:nvPr/>
          </p:nvSpPr>
          <p:spPr>
            <a:xfrm>
              <a:off x="1136650" y="5240627"/>
              <a:ext cx="1705368" cy="645901"/>
            </a:xfrm>
            <a:prstGeom prst="roundRect">
              <a:avLst/>
            </a:prstGeom>
            <a:solidFill>
              <a:srgbClr val="81A743"/>
            </a:solidFill>
            <a:ln w="9525" cap="flat" cmpd="sng" algn="ctr">
              <a:solidFill>
                <a:srgbClr val="80808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kern="0" dirty="0" smtClean="0">
                  <a:solidFill>
                    <a:srgbClr val="FFFFFF"/>
                  </a:solidFill>
                  <a:latin typeface="Calibri" panose="020F0502020204030204" pitchFamily="34" charset="0"/>
                  <a:ea typeface="Verdana" pitchFamily="34" charset="0"/>
                  <a:cs typeface="Verdana" pitchFamily="34" charset="0"/>
                </a:rPr>
                <a:t>Drug Manufacturing for Export</a:t>
              </a:r>
            </a:p>
          </p:txBody>
        </p:sp>
        <p:pic>
          <p:nvPicPr>
            <p:cNvPr id="90" name="Picture 89" descr="bizwoman.jpg"/>
            <p:cNvPicPr>
              <a:picLocks noChangeAspect="1"/>
            </p:cNvPicPr>
            <p:nvPr/>
          </p:nvPicPr>
          <p:blipFill>
            <a:blip r:embed="rId2">
              <a:duotone>
                <a:srgbClr val="698837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9025" y="5165645"/>
              <a:ext cx="790928" cy="795865"/>
            </a:xfrm>
            <a:prstGeom prst="rect">
              <a:avLst/>
            </a:prstGeom>
          </p:spPr>
        </p:pic>
        <p:cxnSp>
          <p:nvCxnSpPr>
            <p:cNvPr id="91" name="Straight Arrow Connector 90"/>
            <p:cNvCxnSpPr/>
            <p:nvPr/>
          </p:nvCxnSpPr>
          <p:spPr>
            <a:xfrm>
              <a:off x="827397" y="5563225"/>
              <a:ext cx="317943" cy="705"/>
            </a:xfrm>
            <a:prstGeom prst="straightConnector1">
              <a:avLst/>
            </a:prstGeom>
            <a:noFill/>
            <a:ln w="9525" cap="flat" cmpd="sng" algn="ctr">
              <a:solidFill>
                <a:srgbClr val="808080"/>
              </a:solidFill>
              <a:prstDash val="solid"/>
              <a:tailEnd type="arrow"/>
            </a:ln>
            <a:effectLst/>
          </p:spPr>
        </p:cxnSp>
      </p:grpSp>
      <p:sp>
        <p:nvSpPr>
          <p:cNvPr id="95" name="Rectangle 94"/>
          <p:cNvSpPr/>
          <p:nvPr/>
        </p:nvSpPr>
        <p:spPr>
          <a:xfrm>
            <a:off x="1001935" y="1056685"/>
            <a:ext cx="1840087" cy="3274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b="1" kern="0" dirty="0" smtClean="0">
                <a:solidFill>
                  <a:srgbClr val="698837"/>
                </a:solidFill>
                <a:latin typeface="Calibri" panose="020F0502020204030204" pitchFamily="34" charset="0"/>
                <a:ea typeface="Verdana" pitchFamily="34" charset="0"/>
                <a:cs typeface="Verdana" pitchFamily="34" charset="0"/>
              </a:rPr>
              <a:t>Type of Business</a:t>
            </a:r>
          </a:p>
        </p:txBody>
      </p:sp>
      <p:sp>
        <p:nvSpPr>
          <p:cNvPr id="102" name="Rectangle 101"/>
          <p:cNvSpPr/>
          <p:nvPr/>
        </p:nvSpPr>
        <p:spPr>
          <a:xfrm>
            <a:off x="4508152" y="1175180"/>
            <a:ext cx="1593145" cy="86034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b="1" kern="0" dirty="0" smtClean="0">
                <a:solidFill>
                  <a:srgbClr val="698837"/>
                </a:solidFill>
                <a:latin typeface="Calibri" panose="020F0502020204030204" pitchFamily="34" charset="0"/>
                <a:ea typeface="Verdana" pitchFamily="34" charset="0"/>
                <a:cs typeface="Verdana" pitchFamily="34" charset="0"/>
              </a:rPr>
              <a:t>Generic Agencies</a:t>
            </a:r>
          </a:p>
        </p:txBody>
      </p:sp>
      <p:sp>
        <p:nvSpPr>
          <p:cNvPr id="103" name="Rectangle 102"/>
          <p:cNvSpPr/>
          <p:nvPr/>
        </p:nvSpPr>
        <p:spPr>
          <a:xfrm>
            <a:off x="5888799" y="1065385"/>
            <a:ext cx="2348093" cy="32740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b="1" kern="0" dirty="0" smtClean="0">
                <a:solidFill>
                  <a:srgbClr val="698837"/>
                </a:solidFill>
                <a:latin typeface="Calibri" panose="020F0502020204030204" pitchFamily="34" charset="0"/>
                <a:ea typeface="Verdana" pitchFamily="34" charset="0"/>
                <a:cs typeface="Verdana" pitchFamily="34" charset="0"/>
              </a:rPr>
              <a:t>Specific/Sector Agencies </a:t>
            </a:r>
          </a:p>
        </p:txBody>
      </p:sp>
      <p:grpSp>
        <p:nvGrpSpPr>
          <p:cNvPr id="29" name="Group 28"/>
          <p:cNvGrpSpPr/>
          <p:nvPr/>
        </p:nvGrpSpPr>
        <p:grpSpPr>
          <a:xfrm>
            <a:off x="6276712" y="3288902"/>
            <a:ext cx="1629618" cy="767326"/>
            <a:chOff x="6292015" y="3358530"/>
            <a:chExt cx="1629618" cy="767326"/>
          </a:xfrm>
        </p:grpSpPr>
        <p:sp>
          <p:nvSpPr>
            <p:cNvPr id="98" name="Oval 97"/>
            <p:cNvSpPr/>
            <p:nvPr/>
          </p:nvSpPr>
          <p:spPr>
            <a:xfrm>
              <a:off x="7165633" y="3358530"/>
              <a:ext cx="756000" cy="756000"/>
            </a:xfrm>
            <a:prstGeom prst="ellipse">
              <a:avLst/>
            </a:prstGeom>
            <a:solidFill>
              <a:srgbClr val="698837"/>
            </a:solidFill>
            <a:ln w="9525" cap="flat" cmpd="sng" algn="ctr">
              <a:solidFill>
                <a:srgbClr val="80808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b="1" kern="0" dirty="0" smtClean="0">
                  <a:solidFill>
                    <a:srgbClr val="FFFFFF"/>
                  </a:solidFill>
                  <a:latin typeface="Calibri" panose="020F0502020204030204" pitchFamily="34" charset="0"/>
                  <a:ea typeface="Verdana" pitchFamily="34" charset="0"/>
                  <a:cs typeface="Verdana" pitchFamily="34" charset="0"/>
                </a:rPr>
                <a:t>NERC</a:t>
              </a:r>
            </a:p>
          </p:txBody>
        </p:sp>
        <p:sp>
          <p:nvSpPr>
            <p:cNvPr id="104" name="Oval 103"/>
            <p:cNvSpPr/>
            <p:nvPr/>
          </p:nvSpPr>
          <p:spPr>
            <a:xfrm>
              <a:off x="6292015" y="3369856"/>
              <a:ext cx="756000" cy="756000"/>
            </a:xfrm>
            <a:prstGeom prst="ellipse">
              <a:avLst/>
            </a:prstGeom>
            <a:solidFill>
              <a:srgbClr val="698837"/>
            </a:solidFill>
            <a:ln w="9525" cap="flat" cmpd="sng" algn="ctr">
              <a:solidFill>
                <a:srgbClr val="80808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b="1" kern="0" dirty="0" smtClean="0">
                  <a:solidFill>
                    <a:srgbClr val="FFFFFF"/>
                  </a:solidFill>
                  <a:latin typeface="Calibri" panose="020F0502020204030204" pitchFamily="34" charset="0"/>
                  <a:ea typeface="Verdana" pitchFamily="34" charset="0"/>
                  <a:cs typeface="Verdana" pitchFamily="34" charset="0"/>
                </a:rPr>
                <a:t>ICRC</a:t>
              </a:r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6394325" y="1545124"/>
            <a:ext cx="1599484" cy="756000"/>
            <a:chOff x="6394325" y="1387362"/>
            <a:chExt cx="1599484" cy="756000"/>
          </a:xfrm>
        </p:grpSpPr>
        <p:sp>
          <p:nvSpPr>
            <p:cNvPr id="97" name="Oval 96"/>
            <p:cNvSpPr/>
            <p:nvPr/>
          </p:nvSpPr>
          <p:spPr>
            <a:xfrm>
              <a:off x="7237809" y="1387362"/>
              <a:ext cx="756000" cy="756000"/>
            </a:xfrm>
            <a:prstGeom prst="ellipse">
              <a:avLst/>
            </a:prstGeom>
            <a:solidFill>
              <a:srgbClr val="698837"/>
            </a:solidFill>
            <a:ln w="9525" cap="flat" cmpd="sng" algn="ctr">
              <a:solidFill>
                <a:srgbClr val="80808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b="1" kern="0" dirty="0" smtClean="0">
                  <a:solidFill>
                    <a:srgbClr val="FFFFFF"/>
                  </a:solidFill>
                  <a:latin typeface="Calibri" panose="020F0502020204030204" pitchFamily="34" charset="0"/>
                  <a:ea typeface="Verdana" pitchFamily="34" charset="0"/>
                  <a:cs typeface="Verdana" pitchFamily="34" charset="0"/>
                </a:rPr>
                <a:t>NOTAP</a:t>
              </a:r>
            </a:p>
          </p:txBody>
        </p:sp>
        <p:sp>
          <p:nvSpPr>
            <p:cNvPr id="107" name="Oval 106"/>
            <p:cNvSpPr/>
            <p:nvPr/>
          </p:nvSpPr>
          <p:spPr>
            <a:xfrm>
              <a:off x="6394325" y="1387362"/>
              <a:ext cx="756000" cy="756000"/>
            </a:xfrm>
            <a:prstGeom prst="ellipse">
              <a:avLst/>
            </a:prstGeom>
            <a:solidFill>
              <a:srgbClr val="698837"/>
            </a:solidFill>
            <a:ln w="9525" cap="flat" cmpd="sng" algn="ctr">
              <a:solidFill>
                <a:srgbClr val="80808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b="1" kern="0" dirty="0" smtClean="0">
                  <a:solidFill>
                    <a:srgbClr val="FFFFFF"/>
                  </a:solidFill>
                  <a:latin typeface="Calibri" panose="020F0502020204030204" pitchFamily="34" charset="0"/>
                  <a:ea typeface="Verdana" pitchFamily="34" charset="0"/>
                  <a:cs typeface="Verdana" pitchFamily="34" charset="0"/>
                </a:rPr>
                <a:t>NCC</a:t>
              </a: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6394325" y="4444703"/>
            <a:ext cx="2486316" cy="1588124"/>
            <a:chOff x="6384214" y="4554856"/>
            <a:chExt cx="2486316" cy="1588124"/>
          </a:xfrm>
        </p:grpSpPr>
        <p:sp>
          <p:nvSpPr>
            <p:cNvPr id="96" name="Oval 95"/>
            <p:cNvSpPr/>
            <p:nvPr/>
          </p:nvSpPr>
          <p:spPr>
            <a:xfrm>
              <a:off x="7140214" y="4554856"/>
              <a:ext cx="884163" cy="756000"/>
            </a:xfrm>
            <a:prstGeom prst="ellipse">
              <a:avLst/>
            </a:prstGeom>
            <a:solidFill>
              <a:srgbClr val="698837"/>
            </a:solidFill>
            <a:ln w="9525" cap="flat" cmpd="sng" algn="ctr">
              <a:solidFill>
                <a:srgbClr val="80808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b="1" kern="0" dirty="0" smtClean="0">
                  <a:solidFill>
                    <a:srgbClr val="FFFFFF"/>
                  </a:solidFill>
                  <a:latin typeface="Calibri" panose="020F0502020204030204" pitchFamily="34" charset="0"/>
                  <a:ea typeface="Verdana" pitchFamily="34" charset="0"/>
                  <a:cs typeface="Verdana" pitchFamily="34" charset="0"/>
                </a:rPr>
                <a:t>NAFDAC</a:t>
              </a:r>
            </a:p>
          </p:txBody>
        </p:sp>
        <p:sp>
          <p:nvSpPr>
            <p:cNvPr id="99" name="Oval 98"/>
            <p:cNvSpPr/>
            <p:nvPr/>
          </p:nvSpPr>
          <p:spPr>
            <a:xfrm>
              <a:off x="7052735" y="5386980"/>
              <a:ext cx="843484" cy="756000"/>
            </a:xfrm>
            <a:prstGeom prst="ellipse">
              <a:avLst/>
            </a:prstGeom>
            <a:solidFill>
              <a:srgbClr val="698837"/>
            </a:solidFill>
            <a:ln w="9525" cap="flat" cmpd="sng" algn="ctr">
              <a:solidFill>
                <a:srgbClr val="80808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b="1" kern="0" dirty="0" smtClean="0">
                  <a:solidFill>
                    <a:srgbClr val="FFFFFF"/>
                  </a:solidFill>
                  <a:latin typeface="Calibri" panose="020F0502020204030204" pitchFamily="34" charset="0"/>
                  <a:ea typeface="Verdana" pitchFamily="34" charset="0"/>
                  <a:cs typeface="Verdana" pitchFamily="34" charset="0"/>
                </a:rPr>
                <a:t>PCN</a:t>
              </a:r>
            </a:p>
          </p:txBody>
        </p:sp>
        <p:sp>
          <p:nvSpPr>
            <p:cNvPr id="100" name="Oval 99"/>
            <p:cNvSpPr/>
            <p:nvPr/>
          </p:nvSpPr>
          <p:spPr>
            <a:xfrm>
              <a:off x="8024378" y="5386980"/>
              <a:ext cx="756000" cy="756000"/>
            </a:xfrm>
            <a:prstGeom prst="ellipse">
              <a:avLst/>
            </a:prstGeom>
            <a:solidFill>
              <a:srgbClr val="698837"/>
            </a:solidFill>
            <a:ln w="9525" cap="flat" cmpd="sng" algn="ctr">
              <a:solidFill>
                <a:srgbClr val="80808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b="1" kern="0" dirty="0" smtClean="0">
                  <a:solidFill>
                    <a:srgbClr val="FFFFFF"/>
                  </a:solidFill>
                  <a:latin typeface="Calibri" panose="020F0502020204030204" pitchFamily="34" charset="0"/>
                  <a:ea typeface="Verdana" pitchFamily="34" charset="0"/>
                  <a:cs typeface="Verdana" pitchFamily="34" charset="0"/>
                </a:rPr>
                <a:t>SON</a:t>
              </a:r>
            </a:p>
          </p:txBody>
        </p:sp>
        <p:sp>
          <p:nvSpPr>
            <p:cNvPr id="101" name="Oval 100"/>
            <p:cNvSpPr/>
            <p:nvPr/>
          </p:nvSpPr>
          <p:spPr>
            <a:xfrm>
              <a:off x="8114530" y="4571627"/>
              <a:ext cx="756000" cy="756000"/>
            </a:xfrm>
            <a:prstGeom prst="ellipse">
              <a:avLst/>
            </a:prstGeom>
            <a:solidFill>
              <a:srgbClr val="698837"/>
            </a:solidFill>
            <a:ln w="9525" cap="flat" cmpd="sng" algn="ctr">
              <a:solidFill>
                <a:srgbClr val="80808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b="1" kern="0" dirty="0" smtClean="0">
                  <a:solidFill>
                    <a:srgbClr val="FFFFFF"/>
                  </a:solidFill>
                  <a:latin typeface="Calibri" panose="020F0502020204030204" pitchFamily="34" charset="0"/>
                  <a:ea typeface="Verdana" pitchFamily="34" charset="0"/>
                  <a:cs typeface="Verdana" pitchFamily="34" charset="0"/>
                </a:rPr>
                <a:t>NEPC</a:t>
              </a:r>
            </a:p>
          </p:txBody>
        </p:sp>
        <p:sp>
          <p:nvSpPr>
            <p:cNvPr id="108" name="Oval 107"/>
            <p:cNvSpPr/>
            <p:nvPr/>
          </p:nvSpPr>
          <p:spPr>
            <a:xfrm>
              <a:off x="6384214" y="4903310"/>
              <a:ext cx="756000" cy="756000"/>
            </a:xfrm>
            <a:prstGeom prst="ellipse">
              <a:avLst/>
            </a:prstGeom>
            <a:solidFill>
              <a:srgbClr val="698837"/>
            </a:solidFill>
            <a:ln w="9525" cap="flat" cmpd="sng" algn="ctr">
              <a:solidFill>
                <a:srgbClr val="80808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b="1" kern="0" dirty="0" smtClean="0">
                  <a:solidFill>
                    <a:srgbClr val="FFFFFF"/>
                  </a:solidFill>
                  <a:latin typeface="Calibri" panose="020F0502020204030204" pitchFamily="34" charset="0"/>
                  <a:ea typeface="Verdana" pitchFamily="34" charset="0"/>
                  <a:cs typeface="Verdana" pitchFamily="34" charset="0"/>
                </a:rPr>
                <a:t>MAN</a:t>
              </a: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4753146" y="1325137"/>
            <a:ext cx="783167" cy="4694856"/>
            <a:chOff x="4753167" y="1513875"/>
            <a:chExt cx="783167" cy="4694856"/>
          </a:xfrm>
        </p:grpSpPr>
        <p:sp>
          <p:nvSpPr>
            <p:cNvPr id="78" name="Rounded Rectangle 77"/>
            <p:cNvSpPr/>
            <p:nvPr/>
          </p:nvSpPr>
          <p:spPr>
            <a:xfrm>
              <a:off x="4753167" y="1513875"/>
              <a:ext cx="783167" cy="4694856"/>
            </a:xfrm>
            <a:prstGeom prst="roundRect">
              <a:avLst/>
            </a:prstGeom>
            <a:solidFill>
              <a:srgbClr val="BAD392"/>
            </a:solidFill>
            <a:ln w="9525" cap="flat" cmpd="sng" algn="ctr">
              <a:solidFill>
                <a:srgbClr val="80808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600" kern="0" dirty="0" err="1" smtClean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80" name="Oval 79"/>
            <p:cNvSpPr/>
            <p:nvPr/>
          </p:nvSpPr>
          <p:spPr>
            <a:xfrm>
              <a:off x="4775728" y="3873911"/>
              <a:ext cx="756000" cy="756000"/>
            </a:xfrm>
            <a:prstGeom prst="ellipse">
              <a:avLst/>
            </a:prstGeom>
            <a:solidFill>
              <a:srgbClr val="698837"/>
            </a:solidFill>
            <a:ln w="9525" cap="flat" cmpd="sng" algn="ctr">
              <a:solidFill>
                <a:srgbClr val="80808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b="1" kern="0" dirty="0" smtClean="0">
                <a:solidFill>
                  <a:srgbClr val="FFFFFF"/>
                </a:solidFill>
                <a:latin typeface="Calibri" panose="020F0502020204030204" pitchFamily="34" charset="0"/>
              </a:endParaRP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b="1" kern="0" dirty="0" smtClean="0">
                  <a:solidFill>
                    <a:srgbClr val="FFFFFF"/>
                  </a:solidFill>
                  <a:latin typeface="Calibri" panose="020F0502020204030204" pitchFamily="34" charset="0"/>
                  <a:ea typeface="Verdana" pitchFamily="34" charset="0"/>
                  <a:cs typeface="Verdana" pitchFamily="34" charset="0"/>
                </a:rPr>
                <a:t>FMI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b="1" kern="0" dirty="0" smtClean="0">
                <a:solidFill>
                  <a:srgbClr val="FFFFFF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81" name="Oval 80"/>
            <p:cNvSpPr/>
            <p:nvPr/>
          </p:nvSpPr>
          <p:spPr>
            <a:xfrm>
              <a:off x="4775728" y="3097948"/>
              <a:ext cx="756000" cy="756000"/>
            </a:xfrm>
            <a:prstGeom prst="ellipse">
              <a:avLst/>
            </a:prstGeom>
            <a:solidFill>
              <a:srgbClr val="698837"/>
            </a:solidFill>
            <a:ln w="9525" cap="flat" cmpd="sng" algn="ctr">
              <a:solidFill>
                <a:srgbClr val="80808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b="1" kern="0" dirty="0" smtClean="0">
                  <a:solidFill>
                    <a:srgbClr val="FFFFFF"/>
                  </a:solidFill>
                  <a:latin typeface="Calibri" panose="020F0502020204030204" pitchFamily="34" charset="0"/>
                  <a:ea typeface="Verdana" pitchFamily="34" charset="0"/>
                  <a:cs typeface="Verdana" pitchFamily="34" charset="0"/>
                </a:rPr>
                <a:t>FIRS</a:t>
              </a:r>
            </a:p>
          </p:txBody>
        </p:sp>
        <p:sp>
          <p:nvSpPr>
            <p:cNvPr id="82" name="Oval 81"/>
            <p:cNvSpPr/>
            <p:nvPr/>
          </p:nvSpPr>
          <p:spPr>
            <a:xfrm>
              <a:off x="4775728" y="5425837"/>
              <a:ext cx="756000" cy="756000"/>
            </a:xfrm>
            <a:prstGeom prst="ellipse">
              <a:avLst/>
            </a:prstGeom>
            <a:solidFill>
              <a:srgbClr val="698837"/>
            </a:solidFill>
            <a:ln w="9525" cap="flat" cmpd="sng" algn="ctr">
              <a:solidFill>
                <a:srgbClr val="80808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b="1" kern="0" dirty="0" smtClean="0">
                <a:solidFill>
                  <a:srgbClr val="FFFFFF"/>
                </a:solidFill>
                <a:latin typeface="Calibri" panose="020F0502020204030204" pitchFamily="34" charset="0"/>
              </a:endParaRP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b="1" kern="0" dirty="0" smtClean="0">
                  <a:solidFill>
                    <a:srgbClr val="FFFFFF"/>
                  </a:solidFill>
                  <a:latin typeface="Calibri" panose="020F0502020204030204" pitchFamily="34" charset="0"/>
                  <a:ea typeface="Verdana" pitchFamily="34" charset="0"/>
                  <a:cs typeface="Verdana" pitchFamily="34" charset="0"/>
                </a:rPr>
                <a:t>NCS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900" b="1" kern="0" dirty="0" smtClean="0">
                <a:solidFill>
                  <a:srgbClr val="FFFFFF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83" name="Oval 82"/>
            <p:cNvSpPr/>
            <p:nvPr/>
          </p:nvSpPr>
          <p:spPr>
            <a:xfrm>
              <a:off x="4775728" y="4649874"/>
              <a:ext cx="756000" cy="756000"/>
            </a:xfrm>
            <a:prstGeom prst="ellipse">
              <a:avLst/>
            </a:prstGeom>
            <a:solidFill>
              <a:srgbClr val="698837"/>
            </a:solidFill>
            <a:ln w="9525" cap="flat" cmpd="sng" algn="ctr">
              <a:solidFill>
                <a:srgbClr val="80808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b="1" kern="0" dirty="0" smtClean="0">
                  <a:solidFill>
                    <a:srgbClr val="FFFFFF"/>
                  </a:solidFill>
                  <a:latin typeface="Calibri" panose="020F0502020204030204" pitchFamily="34" charset="0"/>
                  <a:ea typeface="Verdana" pitchFamily="34" charset="0"/>
                  <a:cs typeface="Verdana" pitchFamily="34" charset="0"/>
                </a:rPr>
                <a:t>NIS</a:t>
              </a:r>
            </a:p>
          </p:txBody>
        </p:sp>
        <p:sp>
          <p:nvSpPr>
            <p:cNvPr id="105" name="Oval 104"/>
            <p:cNvSpPr/>
            <p:nvPr/>
          </p:nvSpPr>
          <p:spPr>
            <a:xfrm>
              <a:off x="4775728" y="1546022"/>
              <a:ext cx="756000" cy="756000"/>
            </a:xfrm>
            <a:prstGeom prst="ellipse">
              <a:avLst/>
            </a:prstGeom>
            <a:solidFill>
              <a:srgbClr val="698837"/>
            </a:solidFill>
            <a:ln w="9525" cap="flat" cmpd="sng" algn="ctr">
              <a:solidFill>
                <a:srgbClr val="80808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b="1" kern="0" dirty="0" smtClean="0">
                  <a:solidFill>
                    <a:srgbClr val="FFFFFF"/>
                  </a:solidFill>
                  <a:latin typeface="Calibri" panose="020F0502020204030204" pitchFamily="34" charset="0"/>
                  <a:ea typeface="Verdana" pitchFamily="34" charset="0"/>
                  <a:cs typeface="Verdana" pitchFamily="34" charset="0"/>
                </a:rPr>
                <a:t>NBS</a:t>
              </a:r>
            </a:p>
          </p:txBody>
        </p:sp>
        <p:sp>
          <p:nvSpPr>
            <p:cNvPr id="109" name="Oval 108"/>
            <p:cNvSpPr/>
            <p:nvPr/>
          </p:nvSpPr>
          <p:spPr>
            <a:xfrm>
              <a:off x="4775728" y="2321985"/>
              <a:ext cx="756000" cy="756000"/>
            </a:xfrm>
            <a:prstGeom prst="ellipse">
              <a:avLst/>
            </a:prstGeom>
            <a:solidFill>
              <a:srgbClr val="698837"/>
            </a:solidFill>
            <a:ln w="9525" cap="flat" cmpd="sng" algn="ctr">
              <a:solidFill>
                <a:srgbClr val="80808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b="1" kern="0" dirty="0" smtClean="0">
                  <a:solidFill>
                    <a:srgbClr val="FFFFFF"/>
                  </a:solidFill>
                  <a:latin typeface="Calibri" panose="020F0502020204030204" pitchFamily="34" charset="0"/>
                  <a:ea typeface="Verdana" pitchFamily="34" charset="0"/>
                  <a:cs typeface="Verdana" pitchFamily="34" charset="0"/>
                </a:rPr>
                <a:t>CAC</a:t>
              </a: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295673" y="3286869"/>
            <a:ext cx="2546345" cy="795865"/>
            <a:chOff x="295673" y="3503107"/>
            <a:chExt cx="2546345" cy="795865"/>
          </a:xfrm>
        </p:grpSpPr>
        <p:sp>
          <p:nvSpPr>
            <p:cNvPr id="86" name="Rounded Rectangle 85"/>
            <p:cNvSpPr/>
            <p:nvPr/>
          </p:nvSpPr>
          <p:spPr>
            <a:xfrm>
              <a:off x="1136650" y="3563783"/>
              <a:ext cx="1705368" cy="674512"/>
            </a:xfrm>
            <a:prstGeom prst="roundRect">
              <a:avLst/>
            </a:prstGeom>
            <a:solidFill>
              <a:srgbClr val="81A743"/>
            </a:solidFill>
            <a:ln w="9525" cap="flat" cmpd="sng" algn="ctr">
              <a:solidFill>
                <a:srgbClr val="80808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kern="0" dirty="0" smtClean="0">
                  <a:solidFill>
                    <a:srgbClr val="FFFFFF"/>
                  </a:solidFill>
                  <a:latin typeface="Calibri" panose="020F0502020204030204" pitchFamily="34" charset="0"/>
                  <a:ea typeface="Verdana" pitchFamily="34" charset="0"/>
                  <a:cs typeface="Verdana" pitchFamily="34" charset="0"/>
                </a:rPr>
                <a:t>Power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kern="0" dirty="0" smtClean="0">
                  <a:solidFill>
                    <a:srgbClr val="FFFFFF"/>
                  </a:solidFill>
                  <a:latin typeface="Calibri" panose="020F0502020204030204" pitchFamily="34" charset="0"/>
                  <a:ea typeface="Verdana" pitchFamily="34" charset="0"/>
                  <a:cs typeface="Verdana" pitchFamily="34" charset="0"/>
                </a:rPr>
                <a:t>Generation</a:t>
              </a:r>
            </a:p>
          </p:txBody>
        </p:sp>
        <p:pic>
          <p:nvPicPr>
            <p:cNvPr id="114" name="Picture 113" descr="bizwoman.jpg"/>
            <p:cNvPicPr>
              <a:picLocks noChangeAspect="1"/>
            </p:cNvPicPr>
            <p:nvPr/>
          </p:nvPicPr>
          <p:blipFill>
            <a:blip r:embed="rId2">
              <a:duotone>
                <a:srgbClr val="698837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5673" y="3503107"/>
              <a:ext cx="790928" cy="795865"/>
            </a:xfrm>
            <a:prstGeom prst="rect">
              <a:avLst/>
            </a:prstGeom>
          </p:spPr>
        </p:pic>
        <p:cxnSp>
          <p:nvCxnSpPr>
            <p:cNvPr id="77" name="Straight Arrow Connector 76"/>
            <p:cNvCxnSpPr/>
            <p:nvPr/>
          </p:nvCxnSpPr>
          <p:spPr>
            <a:xfrm>
              <a:off x="849838" y="3901039"/>
              <a:ext cx="273054" cy="0"/>
            </a:xfrm>
            <a:prstGeom prst="straightConnector1">
              <a:avLst/>
            </a:prstGeom>
            <a:noFill/>
            <a:ln w="9525" cap="flat" cmpd="sng" algn="ctr">
              <a:solidFill>
                <a:srgbClr val="808080"/>
              </a:solidFill>
              <a:prstDash val="solid"/>
              <a:tailEnd type="arrow"/>
            </a:ln>
            <a:effectLst/>
          </p:spPr>
        </p:cxnSp>
      </p:grpSp>
      <p:cxnSp>
        <p:nvCxnSpPr>
          <p:cNvPr id="6" name="Straight Arrow Connector 5"/>
          <p:cNvCxnSpPr>
            <a:stCxn id="85" idx="3"/>
            <a:endCxn id="79" idx="1"/>
          </p:cNvCxnSpPr>
          <p:nvPr/>
        </p:nvCxnSpPr>
        <p:spPr>
          <a:xfrm>
            <a:off x="2800033" y="1923125"/>
            <a:ext cx="708377" cy="143540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>
            <a:stCxn id="86" idx="3"/>
            <a:endCxn id="79" idx="2"/>
          </p:cNvCxnSpPr>
          <p:nvPr/>
        </p:nvCxnSpPr>
        <p:spPr>
          <a:xfrm flipV="1">
            <a:off x="2842018" y="3672565"/>
            <a:ext cx="536898" cy="1223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>
            <a:stCxn id="87" idx="3"/>
            <a:endCxn id="79" idx="3"/>
          </p:cNvCxnSpPr>
          <p:nvPr/>
        </p:nvCxnSpPr>
        <p:spPr>
          <a:xfrm flipV="1">
            <a:off x="2842018" y="3986600"/>
            <a:ext cx="666392" cy="148807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>
            <a:stCxn id="79" idx="6"/>
            <a:endCxn id="78" idx="1"/>
          </p:cNvCxnSpPr>
          <p:nvPr/>
        </p:nvCxnSpPr>
        <p:spPr>
          <a:xfrm>
            <a:off x="4263158" y="3672565"/>
            <a:ext cx="48998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>
            <a:stCxn id="81" idx="6"/>
            <a:endCxn id="107" idx="2"/>
          </p:cNvCxnSpPr>
          <p:nvPr/>
        </p:nvCxnSpPr>
        <p:spPr>
          <a:xfrm flipV="1">
            <a:off x="5531707" y="1923124"/>
            <a:ext cx="862618" cy="136408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/>
          <p:cNvCxnSpPr>
            <a:stCxn id="78" idx="3"/>
            <a:endCxn id="104" idx="2"/>
          </p:cNvCxnSpPr>
          <p:nvPr/>
        </p:nvCxnSpPr>
        <p:spPr>
          <a:xfrm>
            <a:off x="5536313" y="3672565"/>
            <a:ext cx="740399" cy="566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64"/>
          <p:cNvCxnSpPr>
            <a:stCxn id="80" idx="6"/>
            <a:endCxn id="108" idx="2"/>
          </p:cNvCxnSpPr>
          <p:nvPr/>
        </p:nvCxnSpPr>
        <p:spPr>
          <a:xfrm>
            <a:off x="5531707" y="4063173"/>
            <a:ext cx="862618" cy="110798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Business entry scenarios at NIPC’s One-Stop Investment Centre (OSIC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77432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Object 4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82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98" name="think-cell Slide" r:id="rId24" imgW="353" imgH="353" progId="TCLayout.ActiveDocument.1">
                  <p:embed/>
                </p:oleObj>
              </mc:Choice>
              <mc:Fallback>
                <p:oleObj name="think-cell Slide" r:id="rId2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382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ctangle 32" hidden="1"/>
          <p:cNvSpPr/>
          <p:nvPr>
            <p:custDataLst>
              <p:tags r:id="rId3"/>
            </p:custDataLst>
          </p:nvPr>
        </p:nvSpPr>
        <p:spPr bwMode="auto">
          <a:xfrm>
            <a:off x="38100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000" dirty="0" err="1">
              <a:solidFill>
                <a:prstClr val="black"/>
              </a:solidFill>
              <a:sym typeface="+mn-lt"/>
            </a:endParaRPr>
          </a:p>
        </p:txBody>
      </p:sp>
      <p:sp>
        <p:nvSpPr>
          <p:cNvPr id="5" name="5. Source"/>
          <p:cNvSpPr>
            <a:spLocks noChangeArrowheads="1"/>
          </p:cNvSpPr>
          <p:nvPr/>
        </p:nvSpPr>
        <p:spPr bwMode="auto">
          <a:xfrm>
            <a:off x="359620" y="6408292"/>
            <a:ext cx="786647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381000" indent="-381000" defTabSz="913429">
              <a:tabLst>
                <a:tab pos="625148" algn="l"/>
              </a:tabLst>
            </a:pPr>
            <a:r>
              <a:rPr lang="en-US" sz="800" dirty="0">
                <a:solidFill>
                  <a:srgbClr val="000000"/>
                </a:solidFill>
                <a:latin typeface="Calibri"/>
              </a:rPr>
              <a:t>SOURCE: World Bank ease of doing business index </a:t>
            </a:r>
          </a:p>
        </p:txBody>
      </p:sp>
      <p:pic>
        <p:nvPicPr>
          <p:cNvPr id="7" name="Picture 33" descr="ng"/>
          <p:cNvPicPr>
            <a:picLocks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000924" y="5913124"/>
            <a:ext cx="265176" cy="2659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51" descr="gh"/>
          <p:cNvPicPr>
            <a:picLocks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693227" y="5913124"/>
            <a:ext cx="265176" cy="2659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50" descr="za"/>
          <p:cNvPicPr>
            <a:picLocks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385530" y="5913124"/>
            <a:ext cx="265176" cy="2659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8" descr="ke"/>
          <p:cNvPicPr>
            <a:picLocks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077833" y="5913124"/>
            <a:ext cx="265176" cy="2659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38" descr="ao"/>
          <p:cNvPicPr>
            <a:picLocks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770136" y="5913124"/>
            <a:ext cx="265176" cy="2659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9" descr="ge"/>
          <p:cNvPicPr>
            <a:picLocks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154743" y="5913124"/>
            <a:ext cx="265176" cy="2659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5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430032" y="1447139"/>
            <a:ext cx="1300162" cy="746505"/>
          </a:xfrm>
          <a:prstGeom prst="rect">
            <a:avLst/>
          </a:prstGeom>
          <a:solidFill>
            <a:schemeClr val="accent2"/>
          </a:solidFill>
          <a:ln w="9525">
            <a:noFill/>
          </a:ln>
          <a:effectLst/>
          <a:extLst/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339966"/>
              </a:buClr>
              <a:defRPr/>
            </a:pPr>
            <a:r>
              <a:rPr lang="en-US" sz="1000" b="1" kern="0" dirty="0">
                <a:solidFill>
                  <a:srgbClr val="FFFFFF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Overall: Ease of doing business</a:t>
            </a:r>
          </a:p>
        </p:txBody>
      </p:sp>
      <p:sp>
        <p:nvSpPr>
          <p:cNvPr id="14" name="TextBox 5"/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847110" y="3157209"/>
            <a:ext cx="883085" cy="746505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  <a:extLst/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339966"/>
              </a:buClr>
              <a:defRPr/>
            </a:pPr>
            <a:r>
              <a:rPr lang="en-US" sz="1000" b="1" kern="0" dirty="0">
                <a:solidFill>
                  <a:prstClr val="white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Getting electricity</a:t>
            </a:r>
          </a:p>
        </p:txBody>
      </p:sp>
      <p:sp>
        <p:nvSpPr>
          <p:cNvPr id="15" name="TextBox 5"/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847110" y="4031294"/>
            <a:ext cx="883085" cy="746505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  <a:extLst/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339966"/>
              </a:buClr>
              <a:defRPr/>
            </a:pPr>
            <a:r>
              <a:rPr lang="en-US" sz="1000" b="1" kern="0" dirty="0">
                <a:solidFill>
                  <a:prstClr val="white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Getting credit</a:t>
            </a:r>
          </a:p>
        </p:txBody>
      </p:sp>
      <p:grpSp>
        <p:nvGrpSpPr>
          <p:cNvPr id="48" name="Group 47"/>
          <p:cNvGrpSpPr/>
          <p:nvPr/>
        </p:nvGrpSpPr>
        <p:grpSpPr>
          <a:xfrm>
            <a:off x="847110" y="2283123"/>
            <a:ext cx="883085" cy="3368756"/>
            <a:chOff x="817703" y="2511723"/>
            <a:chExt cx="883085" cy="3368756"/>
          </a:xfrm>
        </p:grpSpPr>
        <p:sp>
          <p:nvSpPr>
            <p:cNvPr id="16" name="TextBox 5"/>
            <p:cNvSpPr txBox="1">
              <a:spLocks/>
            </p:cNvSpPr>
            <p:nvPr>
              <p:custDataLst>
                <p:tags r:id="rId21"/>
              </p:custDataLst>
            </p:nvPr>
          </p:nvSpPr>
          <p:spPr bwMode="gray">
            <a:xfrm>
              <a:off x="817703" y="2511723"/>
              <a:ext cx="883085" cy="746505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  <a:effectLst/>
            <a:extLst/>
          </p:spPr>
          <p:txBody>
            <a:bodyPr vert="horz" wrap="square" lIns="76200" tIns="76200" rIns="76200" bIns="7620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339966"/>
                </a:buClr>
                <a:defRPr/>
              </a:pPr>
              <a:r>
                <a:rPr lang="en-US" sz="1000" b="1" kern="0" dirty="0">
                  <a:solidFill>
                    <a:prstClr val="white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Starting </a:t>
              </a:r>
              <a:br>
                <a:rPr lang="en-US" sz="1000" b="1" kern="0" dirty="0">
                  <a:solidFill>
                    <a:prstClr val="white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</a:br>
              <a:r>
                <a:rPr lang="en-US" sz="1000" b="1" kern="0" dirty="0">
                  <a:solidFill>
                    <a:prstClr val="white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a business</a:t>
              </a:r>
            </a:p>
          </p:txBody>
        </p:sp>
        <p:sp>
          <p:nvSpPr>
            <p:cNvPr id="17" name="TextBox 5"/>
            <p:cNvSpPr txBox="1">
              <a:spLocks/>
            </p:cNvSpPr>
            <p:nvPr>
              <p:custDataLst>
                <p:tags r:id="rId22"/>
              </p:custDataLst>
            </p:nvPr>
          </p:nvSpPr>
          <p:spPr bwMode="gray">
            <a:xfrm>
              <a:off x="817703" y="5133974"/>
              <a:ext cx="883085" cy="746505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  <a:effectLst/>
            <a:extLst/>
          </p:spPr>
          <p:txBody>
            <a:bodyPr vert="horz" wrap="square" lIns="76200" tIns="76200" rIns="76200" bIns="7620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339966"/>
                </a:buClr>
                <a:defRPr/>
              </a:pPr>
              <a:r>
                <a:rPr lang="en-US" sz="1000" b="1" kern="0" dirty="0">
                  <a:solidFill>
                    <a:prstClr val="white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Enforcing contracts</a:t>
              </a:r>
            </a:p>
          </p:txBody>
        </p:sp>
      </p:grpSp>
      <p:sp>
        <p:nvSpPr>
          <p:cNvPr id="18" name="TextBox 5"/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430033" y="2283124"/>
            <a:ext cx="313749" cy="3368756"/>
          </a:xfrm>
          <a:prstGeom prst="rect">
            <a:avLst/>
          </a:prstGeom>
          <a:solidFill>
            <a:schemeClr val="accent2"/>
          </a:solidFill>
          <a:ln w="9525">
            <a:noFill/>
          </a:ln>
          <a:effectLst/>
          <a:extLst/>
        </p:spPr>
        <p:txBody>
          <a:bodyPr vert="vert270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rgbClr val="339966"/>
              </a:buClr>
              <a:defRPr/>
            </a:pPr>
            <a:r>
              <a:rPr lang="en-US" sz="1000" b="1" kern="0" dirty="0">
                <a:solidFill>
                  <a:srgbClr val="FFFFFF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ub-components of Ease of Doing Business:</a:t>
            </a:r>
          </a:p>
        </p:txBody>
      </p:sp>
      <p:sp>
        <p:nvSpPr>
          <p:cNvPr id="19" name="AutoShape 250"/>
          <p:cNvSpPr>
            <a:spLocks noChangeArrowheads="1"/>
          </p:cNvSpPr>
          <p:nvPr/>
        </p:nvSpPr>
        <p:spPr bwMode="gray">
          <a:xfrm>
            <a:off x="366714" y="975704"/>
            <a:ext cx="7382236" cy="233485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72009" tIns="72009" rIns="72009" bIns="72009" anchor="ctr" anchorCtr="0">
            <a:noAutofit/>
          </a:bodyPr>
          <a:lstStyle/>
          <a:p>
            <a:pPr>
              <a:defRPr/>
            </a:pPr>
            <a:r>
              <a:rPr lang="en-US" sz="1000" b="1" kern="0" dirty="0">
                <a:solidFill>
                  <a:prstClr val="white"/>
                </a:solidFill>
                <a:latin typeface="Arial"/>
                <a:ea typeface="Verdana" panose="020B0604030504040204" pitchFamily="34" charset="0"/>
                <a:cs typeface="Verdana" panose="020B0604030504040204" pitchFamily="34" charset="0"/>
              </a:rPr>
              <a:t>Benchmarking metrics</a:t>
            </a:r>
            <a:endParaRPr lang="en-US" sz="1000" kern="0" dirty="0">
              <a:solidFill>
                <a:prstClr val="white"/>
              </a:solidFill>
              <a:latin typeface="Arial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0" name="AutoShape 250"/>
          <p:cNvSpPr>
            <a:spLocks noChangeArrowheads="1"/>
          </p:cNvSpPr>
          <p:nvPr/>
        </p:nvSpPr>
        <p:spPr bwMode="gray">
          <a:xfrm>
            <a:off x="430033" y="1243280"/>
            <a:ext cx="6727539" cy="172355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t" anchorCtr="0">
            <a:spAutoFit/>
          </a:bodyPr>
          <a:lstStyle/>
          <a:p>
            <a:r>
              <a:rPr lang="en-US" sz="1000" dirty="0">
                <a:solidFill>
                  <a:srgbClr val="808080"/>
                </a:solidFill>
                <a:latin typeface="Arial"/>
                <a:ea typeface="Verdana" panose="020B0604030504040204" pitchFamily="34" charset="0"/>
                <a:cs typeface="Verdana" panose="020B0604030504040204" pitchFamily="34" charset="0"/>
              </a:rPr>
              <a:t>Ranking out of 189 (2016)</a:t>
            </a:r>
          </a:p>
        </p:txBody>
      </p:sp>
      <p:pic>
        <p:nvPicPr>
          <p:cNvPr id="21" name="Picture 891" descr="Rwanda"/>
          <p:cNvPicPr>
            <a:picLocks noChangeArrowheads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462439" y="5913124"/>
            <a:ext cx="265176" cy="265909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2" name="Straight Connector 21"/>
          <p:cNvCxnSpPr>
            <a:cxnSpLocks/>
          </p:cNvCxnSpPr>
          <p:nvPr/>
        </p:nvCxnSpPr>
        <p:spPr>
          <a:xfrm>
            <a:off x="1791531" y="3093418"/>
            <a:ext cx="4857750" cy="0"/>
          </a:xfrm>
          <a:prstGeom prst="line">
            <a:avLst/>
          </a:prstGeom>
          <a:ln>
            <a:solidFill>
              <a:srgbClr val="80808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>
            <a:cxnSpLocks/>
          </p:cNvCxnSpPr>
          <p:nvPr/>
        </p:nvCxnSpPr>
        <p:spPr>
          <a:xfrm>
            <a:off x="1791531" y="3967503"/>
            <a:ext cx="4857750" cy="0"/>
          </a:xfrm>
          <a:prstGeom prst="line">
            <a:avLst/>
          </a:prstGeom>
          <a:ln>
            <a:solidFill>
              <a:srgbClr val="80808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>
            <a:cxnSpLocks/>
          </p:cNvCxnSpPr>
          <p:nvPr/>
        </p:nvCxnSpPr>
        <p:spPr>
          <a:xfrm>
            <a:off x="1791531" y="4841588"/>
            <a:ext cx="4857750" cy="0"/>
          </a:xfrm>
          <a:prstGeom prst="line">
            <a:avLst/>
          </a:prstGeom>
          <a:ln>
            <a:solidFill>
              <a:srgbClr val="80808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>
            <a:cxnSpLocks/>
          </p:cNvCxnSpPr>
          <p:nvPr/>
        </p:nvCxnSpPr>
        <p:spPr>
          <a:xfrm>
            <a:off x="1791531" y="2257433"/>
            <a:ext cx="4857750" cy="0"/>
          </a:xfrm>
          <a:prstGeom prst="line">
            <a:avLst/>
          </a:prstGeom>
          <a:ln>
            <a:solidFill>
              <a:srgbClr val="80808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/>
          <p:cNvSpPr>
            <a:spLocks/>
          </p:cNvSpPr>
          <p:nvPr/>
        </p:nvSpPr>
        <p:spPr bwMode="gray">
          <a:xfrm>
            <a:off x="7393596" y="2502164"/>
            <a:ext cx="2087935" cy="2592269"/>
          </a:xfrm>
          <a:prstGeom prst="rect">
            <a:avLst/>
          </a:prstGeom>
          <a:solidFill>
            <a:srgbClr val="FFFFFF"/>
          </a:solidFill>
          <a:ln w="19050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vert="horz" wrap="square" lIns="76200" tIns="76200" rIns="76200" bIns="76200" numCol="1" anchor="b" anchorCtr="0" compatLnSpc="1">
            <a:prstTxWarp prst="textNoShape">
              <a:avLst/>
            </a:prstTxWarp>
            <a:noAutofit/>
          </a:bodyPr>
          <a:lstStyle/>
          <a:p>
            <a:pPr defTabSz="895350">
              <a:buClr>
                <a:srgbClr val="455F51"/>
              </a:buClr>
            </a:pPr>
            <a:endParaRPr lang="en-ZA" sz="1000" dirty="0">
              <a:solidFill>
                <a:prstClr val="white"/>
              </a:solidFill>
              <a:latin typeface="Arial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8" name="TextBox 5"/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7380896" y="2283123"/>
            <a:ext cx="2100635" cy="254427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</a:ln>
          <a:effectLst/>
          <a:extLst/>
        </p:spPr>
        <p:txBody>
          <a:bodyPr wrap="square" lIns="72009" tIns="72009" rIns="72009" bIns="72009" rtlCol="0" anchor="ctr" anchorCtr="0">
            <a:noAutofit/>
          </a:bodyPr>
          <a:lstStyle>
            <a:defPPr>
              <a:defRPr lang="en-US"/>
            </a:defPPr>
            <a:lvl1pPr>
              <a:defRPr sz="1200" b="1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en-GB" sz="1000" kern="0" dirty="0">
                <a:solidFill>
                  <a:prstClr val="white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Key insights</a:t>
            </a:r>
            <a:endParaRPr lang="en-US" sz="1000" kern="0" dirty="0">
              <a:solidFill>
                <a:prstClr val="white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457475" y="2599387"/>
            <a:ext cx="1937040" cy="2462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913429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586" lvl="1" indent="-195966" defTabSz="913429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31" lvl="2" indent="-267227" defTabSz="913429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768" lvl="3" indent="-158716" defTabSz="913429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4947" lvl="4" indent="-132804" defTabSz="913429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300"/>
              </a:spcBef>
              <a:spcAft>
                <a:spcPts val="300"/>
              </a:spcAft>
              <a:buClr>
                <a:srgbClr val="455F51"/>
              </a:buClr>
            </a:pPr>
            <a:r>
              <a:rPr lang="en-US" sz="1000" dirty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Nigeria moved up one place from in the </a:t>
            </a:r>
            <a:r>
              <a:rPr lang="en-US" sz="1000" b="1" dirty="0">
                <a:solidFill>
                  <a:srgbClr val="0296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Ease of Doing Business</a:t>
            </a:r>
            <a:r>
              <a:rPr lang="en-US" sz="1000" dirty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in 2016 but still </a:t>
            </a:r>
            <a:r>
              <a:rPr lang="en-US" sz="1000" b="1" dirty="0">
                <a:solidFill>
                  <a:srgbClr val="029676"/>
                </a:solidFill>
              </a:rPr>
              <a:t>ranks 36 out of 47</a:t>
            </a:r>
            <a:r>
              <a:rPr lang="en-US" sz="1000" dirty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in </a:t>
            </a:r>
            <a:r>
              <a:rPr lang="en-US" sz="1000" b="1" dirty="0">
                <a:solidFill>
                  <a:srgbClr val="0296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ub-Saharan Africa</a:t>
            </a:r>
            <a:endParaRPr lang="en-US" sz="1000" dirty="0">
              <a:solidFill>
                <a:srgbClr val="029676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>
              <a:spcBef>
                <a:spcPts val="300"/>
              </a:spcBef>
              <a:spcAft>
                <a:spcPts val="300"/>
              </a:spcAft>
              <a:buClr>
                <a:srgbClr val="455F51"/>
              </a:buClr>
            </a:pPr>
            <a:r>
              <a:rPr lang="en-US" sz="1000" dirty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Drastic, fast-paced </a:t>
            </a:r>
            <a:r>
              <a:rPr lang="en-US" sz="1000" b="1" dirty="0">
                <a:solidFill>
                  <a:srgbClr val="0296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business reforms </a:t>
            </a:r>
            <a:r>
              <a:rPr lang="en-US" sz="1000" dirty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must be </a:t>
            </a:r>
            <a:r>
              <a:rPr lang="en-US" sz="1000" b="1" dirty="0">
                <a:solidFill>
                  <a:srgbClr val="0296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conducted simultaneously </a:t>
            </a:r>
            <a:r>
              <a:rPr lang="en-US" sz="1000" dirty="0">
                <a:solidFill>
                  <a:prstClr val="black"/>
                </a:solidFill>
              </a:rPr>
              <a:t>to </a:t>
            </a:r>
            <a:r>
              <a:rPr lang="en-US" sz="1000" b="1" dirty="0">
                <a:solidFill>
                  <a:srgbClr val="0296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improve the business environment </a:t>
            </a:r>
            <a:r>
              <a:rPr lang="en-US" sz="1000" dirty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and attract foreign investors</a:t>
            </a:r>
          </a:p>
          <a:p>
            <a:pPr lvl="1">
              <a:spcBef>
                <a:spcPts val="300"/>
              </a:spcBef>
              <a:spcAft>
                <a:spcPts val="300"/>
              </a:spcAft>
              <a:buClr>
                <a:srgbClr val="455F51"/>
              </a:buClr>
            </a:pPr>
            <a:r>
              <a:rPr lang="en-US" sz="1000" b="1" dirty="0">
                <a:solidFill>
                  <a:srgbClr val="0296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Reforms</a:t>
            </a:r>
            <a:r>
              <a:rPr lang="en-US" sz="1000" dirty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must be </a:t>
            </a:r>
            <a:r>
              <a:rPr lang="en-US" sz="1000" b="1" dirty="0">
                <a:solidFill>
                  <a:srgbClr val="029676"/>
                </a:solidFill>
              </a:rPr>
              <a:t>adopted within the next 12 months </a:t>
            </a:r>
            <a:r>
              <a:rPr lang="en-US" sz="1000" dirty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to </a:t>
            </a:r>
            <a:r>
              <a:rPr lang="en-US" sz="1000" b="1" dirty="0">
                <a:solidFill>
                  <a:srgbClr val="029676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reflect in the 2018 Ease of Doing Business report (out October 2017)</a:t>
            </a:r>
          </a:p>
        </p:txBody>
      </p:sp>
      <p:graphicFrame>
        <p:nvGraphicFramePr>
          <p:cNvPr id="31" name="Object 30"/>
          <p:cNvGraphicFramePr>
            <a:graphicFrameLocks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544469713"/>
              </p:ext>
            </p:extLst>
          </p:nvPr>
        </p:nvGraphicFramePr>
        <p:xfrm>
          <a:off x="1591507" y="4762501"/>
          <a:ext cx="5219847" cy="1171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99" name="Chart" r:id="rId33" imgW="5219504" imgH="1171651" progId="MSGraph.Chart.8">
                  <p:embed followColorScheme="full"/>
                </p:oleObj>
              </mc:Choice>
              <mc:Fallback>
                <p:oleObj name="Chart" r:id="rId33" imgW="5219504" imgH="1171651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91507" y="4762501"/>
                        <a:ext cx="5219847" cy="11715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1893131" y="5722938"/>
            <a:ext cx="454324" cy="2282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86" indent="-19596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31" indent="-267227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768" indent="-15871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455F51"/>
              </a:buClr>
            </a:pPr>
            <a:r>
              <a:rPr lang="en-US" altLang="en-US" sz="1000" dirty="0">
                <a:solidFill>
                  <a:prstClr val="black"/>
                </a:solidFill>
                <a:sym typeface="+mn-lt"/>
              </a:rPr>
              <a:t>Nigeria</a:t>
            </a:r>
            <a:endParaRPr lang="en-US" sz="1000" dirty="0">
              <a:solidFill>
                <a:prstClr val="black"/>
              </a:solidFill>
              <a:sym typeface="+mn-lt"/>
            </a:endParaRPr>
          </a:p>
        </p:txBody>
      </p:sp>
      <p:sp>
        <p:nvSpPr>
          <p:cNvPr id="34" name="Rectangle 33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2601157" y="5722938"/>
            <a:ext cx="412677" cy="2282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86" indent="-19596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31" indent="-267227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768" indent="-15871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455F51"/>
              </a:buClr>
            </a:pPr>
            <a:r>
              <a:rPr lang="en-US" altLang="en-US" sz="1000" dirty="0">
                <a:solidFill>
                  <a:prstClr val="black"/>
                </a:solidFill>
                <a:sym typeface="+mn-lt"/>
              </a:rPr>
              <a:t>Ghana</a:t>
            </a:r>
            <a:endParaRPr lang="en-US" sz="1000" dirty="0">
              <a:solidFill>
                <a:prstClr val="black"/>
              </a:solidFill>
              <a:sym typeface="+mn-lt"/>
            </a:endParaRPr>
          </a:p>
        </p:txBody>
      </p:sp>
      <p:sp>
        <p:nvSpPr>
          <p:cNvPr id="35" name="Rectangle 34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3144081" y="5722938"/>
            <a:ext cx="764778" cy="2282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86" indent="-19596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31" indent="-267227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768" indent="-15871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455F51"/>
              </a:buClr>
            </a:pPr>
            <a:r>
              <a:rPr lang="en-US" altLang="en-US" sz="1000" dirty="0">
                <a:solidFill>
                  <a:prstClr val="black"/>
                </a:solidFill>
                <a:sym typeface="+mn-lt"/>
              </a:rPr>
              <a:t>South Africa</a:t>
            </a:r>
            <a:endParaRPr lang="en-US" sz="1000" dirty="0">
              <a:solidFill>
                <a:prstClr val="black"/>
              </a:solidFill>
              <a:sym typeface="+mn-lt"/>
            </a:endParaRPr>
          </a:p>
        </p:txBody>
      </p:sp>
      <p:sp>
        <p:nvSpPr>
          <p:cNvPr id="43" name="Rectangle 42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3996570" y="5722938"/>
            <a:ext cx="389961" cy="2282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86" indent="-19596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31" indent="-267227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768" indent="-15871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455F51"/>
              </a:buClr>
            </a:pPr>
            <a:r>
              <a:rPr lang="en-US" altLang="en-US" sz="1000" dirty="0">
                <a:solidFill>
                  <a:prstClr val="black"/>
                </a:solidFill>
                <a:sym typeface="+mn-lt"/>
              </a:rPr>
              <a:t>Kenya</a:t>
            </a:r>
            <a:endParaRPr lang="en-US" sz="1000" dirty="0">
              <a:solidFill>
                <a:prstClr val="black"/>
              </a:solidFill>
              <a:sym typeface="+mn-lt"/>
            </a:endParaRPr>
          </a:p>
        </p:txBody>
      </p:sp>
      <p:sp>
        <p:nvSpPr>
          <p:cNvPr id="44" name="Rectangle 43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4671256" y="5722938"/>
            <a:ext cx="439180" cy="2282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86" indent="-19596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31" indent="-267227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768" indent="-15871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455F51"/>
              </a:buClr>
            </a:pPr>
            <a:r>
              <a:rPr lang="en-US" altLang="en-US" sz="1000" dirty="0">
                <a:solidFill>
                  <a:prstClr val="black"/>
                </a:solidFill>
                <a:sym typeface="+mn-lt"/>
              </a:rPr>
              <a:t>Angola</a:t>
            </a:r>
            <a:endParaRPr lang="en-US" sz="1000" dirty="0">
              <a:solidFill>
                <a:prstClr val="black"/>
              </a:solidFill>
              <a:sym typeface="+mn-lt"/>
            </a:endParaRPr>
          </a:p>
        </p:txBody>
      </p:sp>
      <p:sp>
        <p:nvSpPr>
          <p:cNvPr id="45" name="Rectangle 44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5333244" y="5722938"/>
            <a:ext cx="507328" cy="2282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86" indent="-19596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31" indent="-267227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768" indent="-15871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455F51"/>
              </a:buClr>
            </a:pPr>
            <a:r>
              <a:rPr lang="en-US" altLang="en-US" sz="1000" dirty="0">
                <a:solidFill>
                  <a:prstClr val="black"/>
                </a:solidFill>
                <a:sym typeface="+mn-lt"/>
              </a:rPr>
              <a:t>Rwanda</a:t>
            </a:r>
            <a:endParaRPr lang="en-US" sz="1000" dirty="0">
              <a:solidFill>
                <a:prstClr val="black"/>
              </a:solidFill>
              <a:sym typeface="+mn-lt"/>
            </a:endParaRPr>
          </a:p>
        </p:txBody>
      </p:sp>
      <p:sp>
        <p:nvSpPr>
          <p:cNvPr id="46" name="Rectangle 45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6028570" y="5722938"/>
            <a:ext cx="495970" cy="2282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86" indent="-19596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31" indent="-267227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768" indent="-15871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455F51"/>
              </a:buClr>
            </a:pPr>
            <a:r>
              <a:rPr lang="en-US" altLang="en-US" sz="1000" dirty="0">
                <a:solidFill>
                  <a:prstClr val="black"/>
                </a:solidFill>
                <a:sym typeface="+mn-lt"/>
              </a:rPr>
              <a:t>Georgia</a:t>
            </a:r>
            <a:endParaRPr lang="en-US" sz="1000" dirty="0">
              <a:solidFill>
                <a:prstClr val="black"/>
              </a:solidFill>
              <a:sym typeface="+mn-lt"/>
            </a:endParaRPr>
          </a:p>
        </p:txBody>
      </p:sp>
      <p:graphicFrame>
        <p:nvGraphicFramePr>
          <p:cNvPr id="49" name="Object 48"/>
          <p:cNvGraphicFramePr>
            <a:graphicFrameLocks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630223547"/>
              </p:ext>
            </p:extLst>
          </p:nvPr>
        </p:nvGraphicFramePr>
        <p:xfrm>
          <a:off x="1591507" y="3886201"/>
          <a:ext cx="5219847" cy="1171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00" name="Chart" r:id="rId35" imgW="5219504" imgH="1171651" progId="MSGraph.Chart.8">
                  <p:embed followColorScheme="full"/>
                </p:oleObj>
              </mc:Choice>
              <mc:Fallback>
                <p:oleObj name="Chart" r:id="rId35" imgW="5219504" imgH="1171651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91507" y="3886201"/>
                        <a:ext cx="5219847" cy="11715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7" name="Object 56"/>
          <p:cNvGraphicFramePr>
            <a:graphicFrameLocks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297069858"/>
              </p:ext>
            </p:extLst>
          </p:nvPr>
        </p:nvGraphicFramePr>
        <p:xfrm>
          <a:off x="1591507" y="3009901"/>
          <a:ext cx="5219847" cy="1171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01" name="Chart" r:id="rId37" imgW="5219504" imgH="1171651" progId="MSGraph.Chart.8">
                  <p:embed followColorScheme="full"/>
                </p:oleObj>
              </mc:Choice>
              <mc:Fallback>
                <p:oleObj name="Chart" r:id="rId37" imgW="5219504" imgH="1171651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91507" y="3009901"/>
                        <a:ext cx="5219847" cy="11715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8" name="Object 57"/>
          <p:cNvGraphicFramePr>
            <a:graphicFrameLocks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4240974516"/>
              </p:ext>
            </p:extLst>
          </p:nvPr>
        </p:nvGraphicFramePr>
        <p:xfrm>
          <a:off x="1591507" y="2171701"/>
          <a:ext cx="5219847" cy="1171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02" name="Chart" r:id="rId39" imgW="5219504" imgH="1171651" progId="MSGraph.Chart.8">
                  <p:embed followColorScheme="full"/>
                </p:oleObj>
              </mc:Choice>
              <mc:Fallback>
                <p:oleObj name="Chart" r:id="rId39" imgW="5219504" imgH="1171651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91507" y="2171701"/>
                        <a:ext cx="5219847" cy="11715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9" name="Object 58"/>
          <p:cNvGraphicFramePr>
            <a:graphicFrameLocks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685120028"/>
              </p:ext>
            </p:extLst>
          </p:nvPr>
        </p:nvGraphicFramePr>
        <p:xfrm>
          <a:off x="1591507" y="1295401"/>
          <a:ext cx="5219847" cy="1171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03" name="Chart" r:id="rId41" imgW="5219504" imgH="1171651" progId="MSGraph.Chart.8">
                  <p:embed followColorScheme="full"/>
                </p:oleObj>
              </mc:Choice>
              <mc:Fallback>
                <p:oleObj name="Chart" r:id="rId41" imgW="5219504" imgH="1171651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91507" y="1295401"/>
                        <a:ext cx="5219847" cy="11715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igeria is considered a difficult place to do busines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45196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82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0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82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>
          <a:xfrm>
            <a:off x="466408" y="1085460"/>
            <a:ext cx="9007792" cy="4996525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32" dirty="0">
              <a:solidFill>
                <a:prstClr val="white"/>
              </a:solidFill>
            </a:endParaRPr>
          </a:p>
        </p:txBody>
      </p:sp>
      <p:graphicFrame>
        <p:nvGraphicFramePr>
          <p:cNvPr id="5" name="Chart 4"/>
          <p:cNvGraphicFramePr/>
          <p:nvPr>
            <p:extLst>
              <p:ext uri="{D42A27DB-BD31-4B8C-83A1-F6EECF244321}">
                <p14:modId xmlns:p14="http://schemas.microsoft.com/office/powerpoint/2010/main" val="1359705128"/>
              </p:ext>
            </p:extLst>
          </p:nvPr>
        </p:nvGraphicFramePr>
        <p:xfrm>
          <a:off x="484703" y="1744819"/>
          <a:ext cx="1391122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Wave 5"/>
          <p:cNvSpPr/>
          <p:nvPr/>
        </p:nvSpPr>
        <p:spPr bwMode="auto">
          <a:xfrm>
            <a:off x="970376" y="1358807"/>
            <a:ext cx="1476901" cy="594360"/>
          </a:xfrm>
          <a:prstGeom prst="wave">
            <a:avLst>
              <a:gd name="adj1" fmla="val 9936"/>
              <a:gd name="adj2" fmla="val 0"/>
            </a:avLst>
          </a:prstGeom>
          <a:solidFill>
            <a:srgbClr val="69883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cene3d>
              <a:camera prst="orthographicFront">
                <a:rot lat="0" lon="0" rev="21299999"/>
              </a:camera>
              <a:lightRig rig="threePt" dir="t"/>
            </a:scene3d>
          </a:bodyPr>
          <a:lstStyle/>
          <a:p>
            <a:pPr algn="ctr">
              <a:spcBef>
                <a:spcPct val="50000"/>
              </a:spcBef>
              <a:defRPr/>
            </a:pPr>
            <a:r>
              <a:rPr lang="en-US" sz="1600" b="1" kern="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RONTIER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668540" y="4179091"/>
            <a:ext cx="1651769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dirty="0">
                <a:solidFill>
                  <a:srgbClr val="3D3D3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igeria scored </a:t>
            </a:r>
            <a:r>
              <a:rPr lang="en-US" sz="1200" b="1" dirty="0">
                <a:solidFill>
                  <a:srgbClr val="3E502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44.63</a:t>
            </a:r>
            <a:r>
              <a:rPr lang="en-US" sz="1200" dirty="0">
                <a:solidFill>
                  <a:srgbClr val="3D3D3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points in </a:t>
            </a:r>
            <a:r>
              <a:rPr lang="en-US" sz="1200" i="1" dirty="0">
                <a:solidFill>
                  <a:srgbClr val="3D3D3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stance to Frontier</a:t>
            </a:r>
            <a:r>
              <a:rPr lang="en-US" sz="1200" dirty="0">
                <a:solidFill>
                  <a:srgbClr val="3D3D3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in the World Bank’s </a:t>
            </a:r>
            <a:r>
              <a:rPr lang="en-US" sz="1200" b="1" i="1" dirty="0">
                <a:solidFill>
                  <a:srgbClr val="3D3D3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oing Business 2017</a:t>
            </a:r>
            <a:r>
              <a:rPr lang="en-US" sz="1200" dirty="0">
                <a:solidFill>
                  <a:srgbClr val="3D3D3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giving it a ranking of </a:t>
            </a:r>
            <a:r>
              <a:rPr lang="en-US" sz="1200" b="1" dirty="0">
                <a:solidFill>
                  <a:srgbClr val="3E502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69</a:t>
            </a:r>
            <a:r>
              <a:rPr lang="en-US" sz="1200" b="1" baseline="30000" dirty="0">
                <a:solidFill>
                  <a:srgbClr val="3E502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</a:t>
            </a:r>
            <a:r>
              <a:rPr lang="en-US" sz="1200" b="1" dirty="0">
                <a:solidFill>
                  <a:srgbClr val="3E502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dirty="0">
                <a:solidFill>
                  <a:srgbClr val="3D3D3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verall, out of 190 countries</a:t>
            </a:r>
          </a:p>
        </p:txBody>
      </p:sp>
      <p:graphicFrame>
        <p:nvGraphicFramePr>
          <p:cNvPr id="9" name="Chart 8"/>
          <p:cNvGraphicFramePr/>
          <p:nvPr>
            <p:extLst>
              <p:ext uri="{D42A27DB-BD31-4B8C-83A1-F6EECF244321}">
                <p14:modId xmlns:p14="http://schemas.microsoft.com/office/powerpoint/2010/main" val="1376691999"/>
              </p:ext>
            </p:extLst>
          </p:nvPr>
        </p:nvGraphicFramePr>
        <p:xfrm>
          <a:off x="3740556" y="1299105"/>
          <a:ext cx="5234941" cy="46294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1" name="Rectangle 10"/>
          <p:cNvSpPr/>
          <p:nvPr/>
        </p:nvSpPr>
        <p:spPr>
          <a:xfrm>
            <a:off x="3922847" y="1739025"/>
            <a:ext cx="2265572" cy="1065963"/>
          </a:xfrm>
          <a:prstGeom prst="rect">
            <a:avLst/>
          </a:prstGeom>
          <a:solidFill>
            <a:srgbClr val="3E5020">
              <a:lumMod val="75000"/>
              <a:alpha val="1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sz="1600" kern="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922847" y="4290954"/>
            <a:ext cx="2265572" cy="1065963"/>
          </a:xfrm>
          <a:prstGeom prst="rect">
            <a:avLst/>
          </a:prstGeom>
          <a:solidFill>
            <a:srgbClr val="FF0000">
              <a:alpha val="1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sz="1600" kern="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6" name="Bracket"/>
          <p:cNvSpPr>
            <a:spLocks/>
          </p:cNvSpPr>
          <p:nvPr>
            <p:custDataLst>
              <p:tags r:id="rId3"/>
            </p:custDataLst>
          </p:nvPr>
        </p:nvSpPr>
        <p:spPr bwMode="auto">
          <a:xfrm flipH="1" flipV="1">
            <a:off x="3574590" y="1299104"/>
            <a:ext cx="180838" cy="4629449"/>
          </a:xfrm>
          <a:custGeom>
            <a:avLst/>
            <a:gdLst>
              <a:gd name="T0" fmla="*/ 0 w 115"/>
              <a:gd name="T1" fmla="*/ 0 h 1152"/>
              <a:gd name="T2" fmla="*/ 65 w 115"/>
              <a:gd name="T3" fmla="*/ 0 h 1152"/>
              <a:gd name="T4" fmla="*/ 65 w 115"/>
              <a:gd name="T5" fmla="*/ 528 h 1152"/>
              <a:gd name="T6" fmla="*/ 115 w 115"/>
              <a:gd name="T7" fmla="*/ 576 h 1152"/>
              <a:gd name="T8" fmla="*/ 65 w 115"/>
              <a:gd name="T9" fmla="*/ 624 h 1152"/>
              <a:gd name="T10" fmla="*/ 65 w 115"/>
              <a:gd name="T11" fmla="*/ 1152 h 1152"/>
              <a:gd name="T12" fmla="*/ 0 w 115"/>
              <a:gd name="T13" fmla="*/ 1152 h 1152"/>
              <a:gd name="connsiteX0" fmla="*/ 0 w 115"/>
              <a:gd name="connsiteY0" fmla="*/ 0 h 1152"/>
              <a:gd name="connsiteX1" fmla="*/ 65 w 115"/>
              <a:gd name="connsiteY1" fmla="*/ 0 h 1152"/>
              <a:gd name="connsiteX2" fmla="*/ 65 w 115"/>
              <a:gd name="connsiteY2" fmla="*/ 528 h 1152"/>
              <a:gd name="connsiteX3" fmla="*/ 115 w 115"/>
              <a:gd name="connsiteY3" fmla="*/ 576 h 1152"/>
              <a:gd name="connsiteX4" fmla="*/ 65 w 115"/>
              <a:gd name="connsiteY4" fmla="*/ 624 h 1152"/>
              <a:gd name="connsiteX5" fmla="*/ 65 w 115"/>
              <a:gd name="connsiteY5" fmla="*/ 1152 h 1152"/>
              <a:gd name="connsiteX0" fmla="*/ 0 w 115"/>
              <a:gd name="connsiteY0" fmla="*/ 0 h 624"/>
              <a:gd name="connsiteX1" fmla="*/ 65 w 115"/>
              <a:gd name="connsiteY1" fmla="*/ 0 h 624"/>
              <a:gd name="connsiteX2" fmla="*/ 65 w 115"/>
              <a:gd name="connsiteY2" fmla="*/ 528 h 624"/>
              <a:gd name="connsiteX3" fmla="*/ 115 w 115"/>
              <a:gd name="connsiteY3" fmla="*/ 576 h 624"/>
              <a:gd name="connsiteX4" fmla="*/ 65 w 115"/>
              <a:gd name="connsiteY4" fmla="*/ 624 h 624"/>
              <a:gd name="connsiteX0" fmla="*/ 0 w 115"/>
              <a:gd name="connsiteY0" fmla="*/ 0 h 576"/>
              <a:gd name="connsiteX1" fmla="*/ 65 w 115"/>
              <a:gd name="connsiteY1" fmla="*/ 0 h 576"/>
              <a:gd name="connsiteX2" fmla="*/ 65 w 115"/>
              <a:gd name="connsiteY2" fmla="*/ 528 h 576"/>
              <a:gd name="connsiteX3" fmla="*/ 115 w 115"/>
              <a:gd name="connsiteY3" fmla="*/ 576 h 576"/>
              <a:gd name="connsiteX0" fmla="*/ 0 w 65"/>
              <a:gd name="connsiteY0" fmla="*/ 0 h 528"/>
              <a:gd name="connsiteX1" fmla="*/ 65 w 65"/>
              <a:gd name="connsiteY1" fmla="*/ 0 h 528"/>
              <a:gd name="connsiteX2" fmla="*/ 65 w 65"/>
              <a:gd name="connsiteY2" fmla="*/ 528 h 528"/>
              <a:gd name="connsiteX0" fmla="*/ 0 w 65"/>
              <a:gd name="connsiteY0" fmla="*/ 0 h 0"/>
              <a:gd name="connsiteX1" fmla="*/ 65 w 65"/>
              <a:gd name="connsiteY1" fmla="*/ 0 h 0"/>
              <a:gd name="connsiteX0" fmla="*/ 0 w 1250"/>
              <a:gd name="connsiteY0" fmla="*/ 1881787 h 1881787"/>
              <a:gd name="connsiteX1" fmla="*/ 1250 w 1250"/>
              <a:gd name="connsiteY1" fmla="*/ 0 h 1881787"/>
              <a:gd name="connsiteX0" fmla="*/ 0 w 1250"/>
              <a:gd name="connsiteY0" fmla="*/ 1881787 h 1881787"/>
              <a:gd name="connsiteX1" fmla="*/ 1250 w 1250"/>
              <a:gd name="connsiteY1" fmla="*/ 0 h 1881787"/>
              <a:gd name="connsiteX2" fmla="*/ 65 w 1250"/>
              <a:gd name="connsiteY2" fmla="*/ 1881787 h 1881787"/>
              <a:gd name="connsiteX0" fmla="*/ 0 w 1250"/>
              <a:gd name="connsiteY0" fmla="*/ 1881787 h 2719987"/>
              <a:gd name="connsiteX1" fmla="*/ 1250 w 1250"/>
              <a:gd name="connsiteY1" fmla="*/ 0 h 2719987"/>
              <a:gd name="connsiteX2" fmla="*/ 65 w 1250"/>
              <a:gd name="connsiteY2" fmla="*/ 1881787 h 2719987"/>
              <a:gd name="connsiteX3" fmla="*/ 65 w 1250"/>
              <a:gd name="connsiteY3" fmla="*/ 2719987 h 2719987"/>
              <a:gd name="connsiteX0" fmla="*/ 0 w 1250"/>
              <a:gd name="connsiteY0" fmla="*/ 1881787 h 2796187"/>
              <a:gd name="connsiteX1" fmla="*/ 1250 w 1250"/>
              <a:gd name="connsiteY1" fmla="*/ 0 h 2796187"/>
              <a:gd name="connsiteX2" fmla="*/ 65 w 1250"/>
              <a:gd name="connsiteY2" fmla="*/ 1881787 h 2796187"/>
              <a:gd name="connsiteX3" fmla="*/ 65 w 1250"/>
              <a:gd name="connsiteY3" fmla="*/ 2719987 h 2796187"/>
              <a:gd name="connsiteX4" fmla="*/ 115 w 1250"/>
              <a:gd name="connsiteY4" fmla="*/ 2796187 h 2796187"/>
              <a:gd name="connsiteX0" fmla="*/ 0 w 1250"/>
              <a:gd name="connsiteY0" fmla="*/ 1881787 h 2872387"/>
              <a:gd name="connsiteX1" fmla="*/ 1250 w 1250"/>
              <a:gd name="connsiteY1" fmla="*/ 0 h 2872387"/>
              <a:gd name="connsiteX2" fmla="*/ 65 w 1250"/>
              <a:gd name="connsiteY2" fmla="*/ 1881787 h 2872387"/>
              <a:gd name="connsiteX3" fmla="*/ 65 w 1250"/>
              <a:gd name="connsiteY3" fmla="*/ 2719987 h 2872387"/>
              <a:gd name="connsiteX4" fmla="*/ 115 w 1250"/>
              <a:gd name="connsiteY4" fmla="*/ 2796187 h 2872387"/>
              <a:gd name="connsiteX5" fmla="*/ 65 w 1250"/>
              <a:gd name="connsiteY5" fmla="*/ 2872387 h 2872387"/>
              <a:gd name="connsiteX0" fmla="*/ 0 w 1250"/>
              <a:gd name="connsiteY0" fmla="*/ 1881787 h 3710587"/>
              <a:gd name="connsiteX1" fmla="*/ 1250 w 1250"/>
              <a:gd name="connsiteY1" fmla="*/ 0 h 3710587"/>
              <a:gd name="connsiteX2" fmla="*/ 65 w 1250"/>
              <a:gd name="connsiteY2" fmla="*/ 1881787 h 3710587"/>
              <a:gd name="connsiteX3" fmla="*/ 65 w 1250"/>
              <a:gd name="connsiteY3" fmla="*/ 2719987 h 3710587"/>
              <a:gd name="connsiteX4" fmla="*/ 115 w 1250"/>
              <a:gd name="connsiteY4" fmla="*/ 2796187 h 3710587"/>
              <a:gd name="connsiteX5" fmla="*/ 65 w 1250"/>
              <a:gd name="connsiteY5" fmla="*/ 2872387 h 3710587"/>
              <a:gd name="connsiteX6" fmla="*/ 65 w 1250"/>
              <a:gd name="connsiteY6" fmla="*/ 3710587 h 3710587"/>
              <a:gd name="connsiteX0" fmla="*/ 0 w 1250"/>
              <a:gd name="connsiteY0" fmla="*/ 1881787 h 3710587"/>
              <a:gd name="connsiteX1" fmla="*/ 1250 w 1250"/>
              <a:gd name="connsiteY1" fmla="*/ 0 h 3710587"/>
              <a:gd name="connsiteX2" fmla="*/ 65 w 1250"/>
              <a:gd name="connsiteY2" fmla="*/ 1881787 h 3710587"/>
              <a:gd name="connsiteX3" fmla="*/ 65 w 1250"/>
              <a:gd name="connsiteY3" fmla="*/ 2719987 h 3710587"/>
              <a:gd name="connsiteX4" fmla="*/ 115 w 1250"/>
              <a:gd name="connsiteY4" fmla="*/ 2796187 h 3710587"/>
              <a:gd name="connsiteX5" fmla="*/ 65 w 1250"/>
              <a:gd name="connsiteY5" fmla="*/ 2872387 h 3710587"/>
              <a:gd name="connsiteX6" fmla="*/ 65 w 1250"/>
              <a:gd name="connsiteY6" fmla="*/ 3710587 h 3710587"/>
              <a:gd name="connsiteX7" fmla="*/ 0 w 1250"/>
              <a:gd name="connsiteY7" fmla="*/ 3710587 h 3710587"/>
              <a:gd name="connsiteX0" fmla="*/ 0 w 1250"/>
              <a:gd name="connsiteY0" fmla="*/ 1881787 h 3710587"/>
              <a:gd name="connsiteX1" fmla="*/ 1250 w 1250"/>
              <a:gd name="connsiteY1" fmla="*/ 0 h 3710587"/>
              <a:gd name="connsiteX2" fmla="*/ 65 w 1250"/>
              <a:gd name="connsiteY2" fmla="*/ 1881787 h 3710587"/>
              <a:gd name="connsiteX3" fmla="*/ 65 w 1250"/>
              <a:gd name="connsiteY3" fmla="*/ 2719987 h 3710587"/>
              <a:gd name="connsiteX4" fmla="*/ 115 w 1250"/>
              <a:gd name="connsiteY4" fmla="*/ 2796187 h 3710587"/>
              <a:gd name="connsiteX5" fmla="*/ 65 w 1250"/>
              <a:gd name="connsiteY5" fmla="*/ 2872387 h 3710587"/>
              <a:gd name="connsiteX6" fmla="*/ 65 w 1250"/>
              <a:gd name="connsiteY6" fmla="*/ 3710587 h 3710587"/>
              <a:gd name="connsiteX7" fmla="*/ 0 w 1250"/>
              <a:gd name="connsiteY7" fmla="*/ 3710587 h 3710587"/>
              <a:gd name="connsiteX0" fmla="*/ 0 w 115"/>
              <a:gd name="connsiteY0" fmla="*/ 0 h 1828800"/>
              <a:gd name="connsiteX1" fmla="*/ 65 w 115"/>
              <a:gd name="connsiteY1" fmla="*/ 0 h 1828800"/>
              <a:gd name="connsiteX2" fmla="*/ 65 w 115"/>
              <a:gd name="connsiteY2" fmla="*/ 0 h 1828800"/>
              <a:gd name="connsiteX3" fmla="*/ 65 w 115"/>
              <a:gd name="connsiteY3" fmla="*/ 838200 h 1828800"/>
              <a:gd name="connsiteX4" fmla="*/ 115 w 115"/>
              <a:gd name="connsiteY4" fmla="*/ 914400 h 1828800"/>
              <a:gd name="connsiteX5" fmla="*/ 65 w 115"/>
              <a:gd name="connsiteY5" fmla="*/ 990600 h 1828800"/>
              <a:gd name="connsiteX6" fmla="*/ 65 w 115"/>
              <a:gd name="connsiteY6" fmla="*/ 1828800 h 1828800"/>
              <a:gd name="connsiteX7" fmla="*/ 0 w 115"/>
              <a:gd name="connsiteY7" fmla="*/ 1828800 h 1828800"/>
              <a:gd name="connsiteX0" fmla="*/ 0 w 115"/>
              <a:gd name="connsiteY0" fmla="*/ 0 h 1828800"/>
              <a:gd name="connsiteX1" fmla="*/ 65 w 115"/>
              <a:gd name="connsiteY1" fmla="*/ 0 h 1828800"/>
              <a:gd name="connsiteX2" fmla="*/ 65 w 115"/>
              <a:gd name="connsiteY2" fmla="*/ 838199 h 1828800"/>
              <a:gd name="connsiteX3" fmla="*/ 65 w 115"/>
              <a:gd name="connsiteY3" fmla="*/ 838200 h 1828800"/>
              <a:gd name="connsiteX4" fmla="*/ 115 w 115"/>
              <a:gd name="connsiteY4" fmla="*/ 914400 h 1828800"/>
              <a:gd name="connsiteX5" fmla="*/ 65 w 115"/>
              <a:gd name="connsiteY5" fmla="*/ 990600 h 1828800"/>
              <a:gd name="connsiteX6" fmla="*/ 65 w 115"/>
              <a:gd name="connsiteY6" fmla="*/ 1828800 h 1828800"/>
              <a:gd name="connsiteX7" fmla="*/ 0 w 115"/>
              <a:gd name="connsiteY7" fmla="*/ 1828800 h 1828800"/>
              <a:gd name="connsiteX0" fmla="*/ 0 w 115"/>
              <a:gd name="connsiteY0" fmla="*/ 0 h 1828800"/>
              <a:gd name="connsiteX1" fmla="*/ 65 w 115"/>
              <a:gd name="connsiteY1" fmla="*/ 0 h 1828800"/>
              <a:gd name="connsiteX2" fmla="*/ 65 w 115"/>
              <a:gd name="connsiteY2" fmla="*/ 838199 h 1828800"/>
              <a:gd name="connsiteX3" fmla="*/ 115 w 115"/>
              <a:gd name="connsiteY3" fmla="*/ 914399 h 1828800"/>
              <a:gd name="connsiteX4" fmla="*/ 115 w 115"/>
              <a:gd name="connsiteY4" fmla="*/ 914400 h 1828800"/>
              <a:gd name="connsiteX5" fmla="*/ 65 w 115"/>
              <a:gd name="connsiteY5" fmla="*/ 990600 h 1828800"/>
              <a:gd name="connsiteX6" fmla="*/ 65 w 115"/>
              <a:gd name="connsiteY6" fmla="*/ 1828800 h 1828800"/>
              <a:gd name="connsiteX7" fmla="*/ 0 w 115"/>
              <a:gd name="connsiteY7" fmla="*/ 1828800 h 1828800"/>
              <a:gd name="connsiteX0" fmla="*/ 0 w 115"/>
              <a:gd name="connsiteY0" fmla="*/ 0 h 1828800"/>
              <a:gd name="connsiteX1" fmla="*/ 65 w 115"/>
              <a:gd name="connsiteY1" fmla="*/ 0 h 1828800"/>
              <a:gd name="connsiteX2" fmla="*/ 65 w 115"/>
              <a:gd name="connsiteY2" fmla="*/ 838199 h 1828800"/>
              <a:gd name="connsiteX3" fmla="*/ 115 w 115"/>
              <a:gd name="connsiteY3" fmla="*/ 914399 h 1828800"/>
              <a:gd name="connsiteX4" fmla="*/ 65 w 115"/>
              <a:gd name="connsiteY4" fmla="*/ 990599 h 1828800"/>
              <a:gd name="connsiteX5" fmla="*/ 65 w 115"/>
              <a:gd name="connsiteY5" fmla="*/ 990600 h 1828800"/>
              <a:gd name="connsiteX6" fmla="*/ 65 w 115"/>
              <a:gd name="connsiteY6" fmla="*/ 1828800 h 1828800"/>
              <a:gd name="connsiteX7" fmla="*/ 0 w 115"/>
              <a:gd name="connsiteY7" fmla="*/ 1828800 h 1828800"/>
              <a:gd name="connsiteX0" fmla="*/ 0 w 115"/>
              <a:gd name="connsiteY0" fmla="*/ 0 h 1828800"/>
              <a:gd name="connsiteX1" fmla="*/ 65 w 115"/>
              <a:gd name="connsiteY1" fmla="*/ 0 h 1828800"/>
              <a:gd name="connsiteX2" fmla="*/ 65 w 115"/>
              <a:gd name="connsiteY2" fmla="*/ 838199 h 1828800"/>
              <a:gd name="connsiteX3" fmla="*/ 115 w 115"/>
              <a:gd name="connsiteY3" fmla="*/ 914399 h 1828800"/>
              <a:gd name="connsiteX4" fmla="*/ 65 w 115"/>
              <a:gd name="connsiteY4" fmla="*/ 990599 h 1828800"/>
              <a:gd name="connsiteX5" fmla="*/ 65 w 115"/>
              <a:gd name="connsiteY5" fmla="*/ 1828799 h 1828800"/>
              <a:gd name="connsiteX6" fmla="*/ 65 w 115"/>
              <a:gd name="connsiteY6" fmla="*/ 1828800 h 1828800"/>
              <a:gd name="connsiteX7" fmla="*/ 0 w 115"/>
              <a:gd name="connsiteY7" fmla="*/ 1828800 h 1828800"/>
              <a:gd name="connsiteX0" fmla="*/ 0 w 115"/>
              <a:gd name="connsiteY0" fmla="*/ 0 h 1828800"/>
              <a:gd name="connsiteX1" fmla="*/ 65 w 115"/>
              <a:gd name="connsiteY1" fmla="*/ 0 h 1828800"/>
              <a:gd name="connsiteX2" fmla="*/ 65 w 115"/>
              <a:gd name="connsiteY2" fmla="*/ 838199 h 1828800"/>
              <a:gd name="connsiteX3" fmla="*/ 115 w 115"/>
              <a:gd name="connsiteY3" fmla="*/ 914399 h 1828800"/>
              <a:gd name="connsiteX4" fmla="*/ 65 w 115"/>
              <a:gd name="connsiteY4" fmla="*/ 990599 h 1828800"/>
              <a:gd name="connsiteX5" fmla="*/ 65 w 115"/>
              <a:gd name="connsiteY5" fmla="*/ 1828799 h 1828800"/>
              <a:gd name="connsiteX6" fmla="*/ 0 w 115"/>
              <a:gd name="connsiteY6" fmla="*/ 1828799 h 1828800"/>
              <a:gd name="connsiteX7" fmla="*/ 0 w 115"/>
              <a:gd name="connsiteY7" fmla="*/ 1828800 h 1828800"/>
              <a:gd name="connsiteX0" fmla="*/ 0 w 115"/>
              <a:gd name="connsiteY0" fmla="*/ 0 h 1828800"/>
              <a:gd name="connsiteX1" fmla="*/ 65 w 115"/>
              <a:gd name="connsiteY1" fmla="*/ 0 h 1828800"/>
              <a:gd name="connsiteX2" fmla="*/ 65 w 115"/>
              <a:gd name="connsiteY2" fmla="*/ 838199 h 1828800"/>
              <a:gd name="connsiteX3" fmla="*/ 115 w 115"/>
              <a:gd name="connsiteY3" fmla="*/ 914399 h 1828800"/>
              <a:gd name="connsiteX4" fmla="*/ 65 w 115"/>
              <a:gd name="connsiteY4" fmla="*/ 990599 h 1828800"/>
              <a:gd name="connsiteX5" fmla="*/ 65 w 115"/>
              <a:gd name="connsiteY5" fmla="*/ 1828799 h 1828800"/>
              <a:gd name="connsiteX6" fmla="*/ 0 w 115"/>
              <a:gd name="connsiteY6" fmla="*/ 1828799 h 1828800"/>
              <a:gd name="connsiteX7" fmla="*/ 0 w 115"/>
              <a:gd name="connsiteY7" fmla="*/ 1828800 h 1828800"/>
              <a:gd name="connsiteX0" fmla="*/ 0 w 115"/>
              <a:gd name="connsiteY0" fmla="*/ 0 h 1828800"/>
              <a:gd name="connsiteX1" fmla="*/ 25 w 115"/>
              <a:gd name="connsiteY1" fmla="*/ 0 h 1828800"/>
              <a:gd name="connsiteX2" fmla="*/ 65 w 115"/>
              <a:gd name="connsiteY2" fmla="*/ 838199 h 1828800"/>
              <a:gd name="connsiteX3" fmla="*/ 115 w 115"/>
              <a:gd name="connsiteY3" fmla="*/ 914399 h 1828800"/>
              <a:gd name="connsiteX4" fmla="*/ 65 w 115"/>
              <a:gd name="connsiteY4" fmla="*/ 990599 h 1828800"/>
              <a:gd name="connsiteX5" fmla="*/ 65 w 115"/>
              <a:gd name="connsiteY5" fmla="*/ 1828799 h 1828800"/>
              <a:gd name="connsiteX6" fmla="*/ 0 w 115"/>
              <a:gd name="connsiteY6" fmla="*/ 1828799 h 1828800"/>
              <a:gd name="connsiteX7" fmla="*/ 0 w 115"/>
              <a:gd name="connsiteY7" fmla="*/ 1828800 h 1828800"/>
              <a:gd name="connsiteX0" fmla="*/ 0 w 115"/>
              <a:gd name="connsiteY0" fmla="*/ 0 h 1828800"/>
              <a:gd name="connsiteX1" fmla="*/ 25 w 115"/>
              <a:gd name="connsiteY1" fmla="*/ 0 h 1828800"/>
              <a:gd name="connsiteX2" fmla="*/ 25 w 115"/>
              <a:gd name="connsiteY2" fmla="*/ 885552 h 1828800"/>
              <a:gd name="connsiteX3" fmla="*/ 115 w 115"/>
              <a:gd name="connsiteY3" fmla="*/ 914399 h 1828800"/>
              <a:gd name="connsiteX4" fmla="*/ 65 w 115"/>
              <a:gd name="connsiteY4" fmla="*/ 990599 h 1828800"/>
              <a:gd name="connsiteX5" fmla="*/ 65 w 115"/>
              <a:gd name="connsiteY5" fmla="*/ 1828799 h 1828800"/>
              <a:gd name="connsiteX6" fmla="*/ 0 w 115"/>
              <a:gd name="connsiteY6" fmla="*/ 1828799 h 1828800"/>
              <a:gd name="connsiteX7" fmla="*/ 0 w 115"/>
              <a:gd name="connsiteY7" fmla="*/ 1828800 h 1828800"/>
              <a:gd name="connsiteX0" fmla="*/ 0 w 65"/>
              <a:gd name="connsiteY0" fmla="*/ 0 h 1828800"/>
              <a:gd name="connsiteX1" fmla="*/ 25 w 65"/>
              <a:gd name="connsiteY1" fmla="*/ 0 h 1828800"/>
              <a:gd name="connsiteX2" fmla="*/ 25 w 65"/>
              <a:gd name="connsiteY2" fmla="*/ 885552 h 1828800"/>
              <a:gd name="connsiteX3" fmla="*/ 45 w 65"/>
              <a:gd name="connsiteY3" fmla="*/ 914400 h 1828800"/>
              <a:gd name="connsiteX4" fmla="*/ 65 w 65"/>
              <a:gd name="connsiteY4" fmla="*/ 990599 h 1828800"/>
              <a:gd name="connsiteX5" fmla="*/ 65 w 65"/>
              <a:gd name="connsiteY5" fmla="*/ 1828799 h 1828800"/>
              <a:gd name="connsiteX6" fmla="*/ 0 w 65"/>
              <a:gd name="connsiteY6" fmla="*/ 1828799 h 1828800"/>
              <a:gd name="connsiteX7" fmla="*/ 0 w 65"/>
              <a:gd name="connsiteY7" fmla="*/ 1828800 h 1828800"/>
              <a:gd name="connsiteX0" fmla="*/ 0 w 65"/>
              <a:gd name="connsiteY0" fmla="*/ 0 h 1828800"/>
              <a:gd name="connsiteX1" fmla="*/ 25 w 65"/>
              <a:gd name="connsiteY1" fmla="*/ 0 h 1828800"/>
              <a:gd name="connsiteX2" fmla="*/ 25 w 65"/>
              <a:gd name="connsiteY2" fmla="*/ 885552 h 1828800"/>
              <a:gd name="connsiteX3" fmla="*/ 45 w 65"/>
              <a:gd name="connsiteY3" fmla="*/ 914400 h 1828800"/>
              <a:gd name="connsiteX4" fmla="*/ 25 w 65"/>
              <a:gd name="connsiteY4" fmla="*/ 943248 h 1828800"/>
              <a:gd name="connsiteX5" fmla="*/ 65 w 65"/>
              <a:gd name="connsiteY5" fmla="*/ 1828799 h 1828800"/>
              <a:gd name="connsiteX6" fmla="*/ 0 w 65"/>
              <a:gd name="connsiteY6" fmla="*/ 1828799 h 1828800"/>
              <a:gd name="connsiteX7" fmla="*/ 0 w 65"/>
              <a:gd name="connsiteY7" fmla="*/ 1828800 h 1828800"/>
              <a:gd name="connsiteX0" fmla="*/ 0 w 45"/>
              <a:gd name="connsiteY0" fmla="*/ 0 h 1828800"/>
              <a:gd name="connsiteX1" fmla="*/ 25 w 45"/>
              <a:gd name="connsiteY1" fmla="*/ 0 h 1828800"/>
              <a:gd name="connsiteX2" fmla="*/ 25 w 45"/>
              <a:gd name="connsiteY2" fmla="*/ 885552 h 1828800"/>
              <a:gd name="connsiteX3" fmla="*/ 45 w 45"/>
              <a:gd name="connsiteY3" fmla="*/ 914400 h 1828800"/>
              <a:gd name="connsiteX4" fmla="*/ 25 w 45"/>
              <a:gd name="connsiteY4" fmla="*/ 943248 h 1828800"/>
              <a:gd name="connsiteX5" fmla="*/ 25 w 45"/>
              <a:gd name="connsiteY5" fmla="*/ 1828800 h 1828800"/>
              <a:gd name="connsiteX6" fmla="*/ 0 w 45"/>
              <a:gd name="connsiteY6" fmla="*/ 1828799 h 1828800"/>
              <a:gd name="connsiteX7" fmla="*/ 0 w 45"/>
              <a:gd name="connsiteY7" fmla="*/ 1828800 h 1828800"/>
              <a:gd name="connsiteX0" fmla="*/ 0 w 45"/>
              <a:gd name="connsiteY0" fmla="*/ 0 h 1828800"/>
              <a:gd name="connsiteX1" fmla="*/ 25 w 45"/>
              <a:gd name="connsiteY1" fmla="*/ 0 h 1828800"/>
              <a:gd name="connsiteX2" fmla="*/ 25 w 45"/>
              <a:gd name="connsiteY2" fmla="*/ 885552 h 1828800"/>
              <a:gd name="connsiteX3" fmla="*/ 45 w 45"/>
              <a:gd name="connsiteY3" fmla="*/ 914400 h 1828800"/>
              <a:gd name="connsiteX4" fmla="*/ 25 w 45"/>
              <a:gd name="connsiteY4" fmla="*/ 943248 h 1828800"/>
              <a:gd name="connsiteX5" fmla="*/ 25 w 45"/>
              <a:gd name="connsiteY5" fmla="*/ 1828800 h 1828800"/>
              <a:gd name="connsiteX6" fmla="*/ 0 w 45"/>
              <a:gd name="connsiteY6" fmla="*/ 1828800 h 1828800"/>
              <a:gd name="connsiteX7" fmla="*/ 0 w 45"/>
              <a:gd name="connsiteY7" fmla="*/ 182880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" h="1828800">
                <a:moveTo>
                  <a:pt x="0" y="0"/>
                </a:moveTo>
                <a:lnTo>
                  <a:pt x="25" y="0"/>
                </a:lnTo>
                <a:lnTo>
                  <a:pt x="25" y="885552"/>
                </a:lnTo>
                <a:lnTo>
                  <a:pt x="45" y="914400"/>
                </a:lnTo>
                <a:lnTo>
                  <a:pt x="25" y="943248"/>
                </a:lnTo>
                <a:lnTo>
                  <a:pt x="25" y="1828800"/>
                </a:lnTo>
                <a:lnTo>
                  <a:pt x="0" y="1828800"/>
                </a:lnTo>
                <a:lnTo>
                  <a:pt x="0" y="1828800"/>
                </a:lnTo>
              </a:path>
            </a:pathLst>
          </a:custGeom>
          <a:noFill/>
          <a:ln w="9525">
            <a:solidFill>
              <a:schemeClr val="accent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99376" y="366750"/>
            <a:ext cx="8627123" cy="3693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1800" b="1" dirty="0" smtClean="0">
                <a:solidFill>
                  <a:prstClr val="white"/>
                </a:solidFill>
                <a:latin typeface="Calibri Light" panose="020F0302020204030204" pitchFamily="34" charset="0"/>
              </a:rPr>
              <a:t>Nigeria’s overall performance </a:t>
            </a:r>
            <a:r>
              <a:rPr lang="en-US" sz="1800" b="1" dirty="0">
                <a:solidFill>
                  <a:prstClr val="white"/>
                </a:solidFill>
                <a:latin typeface="Calibri Light" panose="020F0302020204030204" pitchFamily="34" charset="0"/>
              </a:rPr>
              <a:t>relative to best-in-class across indicators</a:t>
            </a:r>
            <a:endParaRPr lang="en-GB" sz="1800" b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6401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8289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5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82892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>
            <a:spLocks/>
          </p:cNvSpPr>
          <p:nvPr/>
        </p:nvSpPr>
        <p:spPr>
          <a:xfrm>
            <a:off x="322291" y="1081522"/>
            <a:ext cx="9228109" cy="507797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pic>
        <p:nvPicPr>
          <p:cNvPr id="5" name="Picture 4"/>
          <p:cNvPicPr>
            <a:picLocks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493" t="733" r="14641" b="1242"/>
          <a:stretch/>
        </p:blipFill>
        <p:spPr>
          <a:xfrm>
            <a:off x="511239" y="1094222"/>
            <a:ext cx="8797861" cy="4925578"/>
          </a:xfrm>
          <a:prstGeom prst="rect">
            <a:avLst/>
          </a:prstGeom>
        </p:spPr>
      </p:pic>
      <p:sp>
        <p:nvSpPr>
          <p:cNvPr id="9" name="5. Source"/>
          <p:cNvSpPr>
            <a:spLocks noChangeArrowheads="1"/>
          </p:cNvSpPr>
          <p:nvPr/>
        </p:nvSpPr>
        <p:spPr bwMode="auto">
          <a:xfrm>
            <a:off x="304800" y="6430101"/>
            <a:ext cx="7866474" cy="12554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 anchor="b">
            <a:spAutoFit/>
          </a:bodyPr>
          <a:lstStyle/>
          <a:p>
            <a:pPr marL="381000" indent="-381000" defTabSz="913429">
              <a:tabLst>
                <a:tab pos="625148" algn="l"/>
              </a:tabLst>
            </a:pPr>
            <a:r>
              <a:rPr lang="en-US" sz="800" dirty="0">
                <a:solidFill>
                  <a:srgbClr val="000000"/>
                </a:solidFill>
                <a:latin typeface="Calibri"/>
              </a:rPr>
              <a:t>SOURCE: World Bank – ‘Doing Business’ report; Lit. Search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rong correlation between “Ease of Doing Business” and economic prosperity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63039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>
          <a:xfrm>
            <a:off x="470647" y="1065217"/>
            <a:ext cx="4303059" cy="34672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75000"/>
                  <a:shade val="30000"/>
                  <a:satMod val="115000"/>
                </a:schemeClr>
              </a:gs>
              <a:gs pos="50000">
                <a:schemeClr val="accent2">
                  <a:lumMod val="75000"/>
                  <a:shade val="67500"/>
                  <a:satMod val="115000"/>
                </a:schemeClr>
              </a:gs>
              <a:gs pos="100000">
                <a:schemeClr val="accent2">
                  <a:lumMod val="7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lobal FDI flow</a:t>
            </a:r>
            <a:endParaRPr lang="en-US" sz="12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7" name="TextBox 86"/>
          <p:cNvSpPr txBox="1"/>
          <p:nvPr/>
        </p:nvSpPr>
        <p:spPr>
          <a:xfrm>
            <a:off x="6656354" y="2187881"/>
            <a:ext cx="4932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K</a:t>
            </a:r>
            <a:endParaRPr lang="en-ZA" sz="12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6559086" y="2824753"/>
            <a:ext cx="6411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SA</a:t>
            </a:r>
            <a:endParaRPr lang="en-ZA" sz="12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6449259" y="4578191"/>
            <a:ext cx="10320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witzerland</a:t>
            </a:r>
            <a:endParaRPr lang="en-ZA" sz="12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5498707" y="1035508"/>
            <a:ext cx="3806657" cy="389879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75000"/>
                  <a:shade val="30000"/>
                  <a:satMod val="115000"/>
                </a:schemeClr>
              </a:gs>
              <a:gs pos="50000">
                <a:schemeClr val="accent2">
                  <a:lumMod val="75000"/>
                  <a:shade val="67500"/>
                  <a:satMod val="115000"/>
                </a:schemeClr>
              </a:gs>
              <a:gs pos="100000">
                <a:schemeClr val="accent2">
                  <a:lumMod val="7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p investing countries in Africa in 2015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331055" y="6414352"/>
            <a:ext cx="386516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900" dirty="0" smtClean="0"/>
              <a:t>Source: </a:t>
            </a:r>
            <a:r>
              <a:rPr lang="en-GB" sz="900" dirty="0" err="1" smtClean="0"/>
              <a:t>FDi</a:t>
            </a:r>
            <a:r>
              <a:rPr lang="en-GB" sz="900" dirty="0" smtClean="0"/>
              <a:t> Markets, World Investment Report 2016 (UNCTAD Report) </a:t>
            </a:r>
            <a:endParaRPr lang="en-GB" sz="900" dirty="0"/>
          </a:p>
        </p:txBody>
      </p:sp>
      <p:graphicFrame>
        <p:nvGraphicFramePr>
          <p:cNvPr id="23" name="Chart 22"/>
          <p:cNvGraphicFramePr>
            <a:graphicFrameLocks/>
          </p:cNvGraphicFramePr>
          <p:nvPr>
            <p:extLst/>
          </p:nvPr>
        </p:nvGraphicFramePr>
        <p:xfrm>
          <a:off x="332796" y="1444336"/>
          <a:ext cx="4332432" cy="23067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4" name="Rectangle 23"/>
          <p:cNvSpPr/>
          <p:nvPr/>
        </p:nvSpPr>
        <p:spPr>
          <a:xfrm>
            <a:off x="5498707" y="4094019"/>
            <a:ext cx="3806657" cy="2036618"/>
          </a:xfrm>
          <a:prstGeom prst="rect">
            <a:avLst/>
          </a:prstGeom>
          <a:solidFill>
            <a:schemeClr val="bg1"/>
          </a:solidFill>
          <a:ln w="9525">
            <a:solidFill>
              <a:srgbClr val="617D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Wingdings" pitchFamily="2" charset="2"/>
              <a:buChar char="§"/>
            </a:pPr>
            <a:r>
              <a:rPr lang="en-GB" sz="1100" dirty="0">
                <a:solidFill>
                  <a:srgbClr val="080808"/>
                </a:solidFill>
                <a:latin typeface="Calibri" pitchFamily="34" charset="0"/>
              </a:rPr>
              <a:t>Business Services, Sales, Marketing &amp; Support and </a:t>
            </a:r>
            <a:r>
              <a:rPr lang="en-GB" sz="1100" dirty="0" smtClean="0">
                <a:solidFill>
                  <a:srgbClr val="080808"/>
                </a:solidFill>
                <a:latin typeface="Calibri" pitchFamily="34" charset="0"/>
              </a:rPr>
              <a:t>Manufacturing </a:t>
            </a:r>
            <a:r>
              <a:rPr lang="en-GB" sz="1100" dirty="0">
                <a:solidFill>
                  <a:srgbClr val="080808"/>
                </a:solidFill>
                <a:latin typeface="Calibri" pitchFamily="34" charset="0"/>
              </a:rPr>
              <a:t>were the top three business activities for </a:t>
            </a:r>
            <a:r>
              <a:rPr lang="en-GB" sz="1100" dirty="0" smtClean="0">
                <a:solidFill>
                  <a:srgbClr val="080808"/>
                </a:solidFill>
                <a:latin typeface="Calibri" pitchFamily="34" charset="0"/>
              </a:rPr>
              <a:t>FDI </a:t>
            </a:r>
            <a:r>
              <a:rPr lang="en-GB" sz="1100" dirty="0">
                <a:solidFill>
                  <a:srgbClr val="080808"/>
                </a:solidFill>
                <a:latin typeface="Calibri" pitchFamily="34" charset="0"/>
              </a:rPr>
              <a:t>projects into Africa in </a:t>
            </a:r>
            <a:r>
              <a:rPr lang="en-GB" sz="1100" dirty="0" smtClean="0">
                <a:solidFill>
                  <a:srgbClr val="080808"/>
                </a:solidFill>
                <a:latin typeface="Calibri" pitchFamily="34" charset="0"/>
              </a:rPr>
              <a:t>2015</a:t>
            </a:r>
          </a:p>
          <a:p>
            <a:pPr marL="342900" indent="-342900">
              <a:buFont typeface="Wingdings" pitchFamily="2" charset="2"/>
              <a:buChar char="§"/>
            </a:pPr>
            <a:endParaRPr lang="en-GB" sz="1100" dirty="0" smtClean="0">
              <a:solidFill>
                <a:srgbClr val="080808"/>
              </a:solidFill>
              <a:latin typeface="Calibri" pitchFamily="34" charset="0"/>
            </a:endParaRPr>
          </a:p>
          <a:p>
            <a:pPr marL="342900" indent="-342900">
              <a:buFont typeface="Wingdings" pitchFamily="2" charset="2"/>
              <a:buChar char="§"/>
            </a:pPr>
            <a:r>
              <a:rPr lang="en-GB" sz="1100" dirty="0" smtClean="0">
                <a:solidFill>
                  <a:srgbClr val="080808"/>
                </a:solidFill>
                <a:latin typeface="Calibri" pitchFamily="34" charset="0"/>
              </a:rPr>
              <a:t>Extraction projects remained the fastest </a:t>
            </a:r>
            <a:r>
              <a:rPr lang="en-GB" sz="1100" dirty="0">
                <a:solidFill>
                  <a:srgbClr val="080808"/>
                </a:solidFill>
                <a:latin typeface="Calibri" pitchFamily="34" charset="0"/>
              </a:rPr>
              <a:t>growing business activity by </a:t>
            </a:r>
            <a:r>
              <a:rPr lang="en-GB" sz="1100" dirty="0" smtClean="0">
                <a:solidFill>
                  <a:srgbClr val="080808"/>
                </a:solidFill>
                <a:latin typeface="Calibri" pitchFamily="34" charset="0"/>
              </a:rPr>
              <a:t>capital investment accounting for 23% in 2015 (joint top with Electricity) </a:t>
            </a:r>
          </a:p>
          <a:p>
            <a:pPr marL="342900" indent="-342900">
              <a:buFont typeface="Wingdings" pitchFamily="2" charset="2"/>
              <a:buChar char="§"/>
            </a:pPr>
            <a:endParaRPr lang="en-GB" sz="1100" dirty="0" smtClean="0">
              <a:solidFill>
                <a:srgbClr val="080808"/>
              </a:solidFill>
              <a:latin typeface="Calibri" pitchFamily="34" charset="0"/>
            </a:endParaRPr>
          </a:p>
          <a:p>
            <a:pPr marL="342900" indent="-342900">
              <a:buFont typeface="Wingdings" pitchFamily="2" charset="2"/>
              <a:buChar char="§"/>
            </a:pPr>
            <a:r>
              <a:rPr lang="en-GB" sz="1100" dirty="0" smtClean="0">
                <a:solidFill>
                  <a:srgbClr val="080808"/>
                </a:solidFill>
                <a:latin typeface="Calibri" pitchFamily="34" charset="0"/>
              </a:rPr>
              <a:t>Infrastructure-related </a:t>
            </a:r>
            <a:r>
              <a:rPr lang="en-GB" sz="1100" dirty="0">
                <a:solidFill>
                  <a:srgbClr val="080808"/>
                </a:solidFill>
                <a:latin typeface="Calibri" pitchFamily="34" charset="0"/>
              </a:rPr>
              <a:t>business activities such as </a:t>
            </a:r>
            <a:r>
              <a:rPr lang="en-GB" sz="1100" dirty="0" smtClean="0">
                <a:solidFill>
                  <a:srgbClr val="080808"/>
                </a:solidFill>
                <a:latin typeface="Calibri" pitchFamily="34" charset="0"/>
              </a:rPr>
              <a:t>Electricity</a:t>
            </a:r>
            <a:r>
              <a:rPr lang="en-GB" sz="1100" dirty="0">
                <a:solidFill>
                  <a:srgbClr val="080808"/>
                </a:solidFill>
                <a:latin typeface="Calibri" pitchFamily="34" charset="0"/>
              </a:rPr>
              <a:t>, Construction and ICT &amp; Internet Infrastructure </a:t>
            </a:r>
            <a:r>
              <a:rPr lang="en-GB" sz="1100" dirty="0" smtClean="0">
                <a:solidFill>
                  <a:srgbClr val="080808"/>
                </a:solidFill>
                <a:latin typeface="Calibri" pitchFamily="34" charset="0"/>
              </a:rPr>
              <a:t>made </a:t>
            </a:r>
            <a:r>
              <a:rPr lang="en-GB" sz="1100" dirty="0">
                <a:solidFill>
                  <a:srgbClr val="080808"/>
                </a:solidFill>
                <a:latin typeface="Calibri" pitchFamily="34" charset="0"/>
              </a:rPr>
              <a:t>up </a:t>
            </a:r>
            <a:r>
              <a:rPr lang="en-GB" sz="1100" dirty="0" smtClean="0">
                <a:solidFill>
                  <a:srgbClr val="080808"/>
                </a:solidFill>
                <a:latin typeface="Calibri" pitchFamily="34" charset="0"/>
              </a:rPr>
              <a:t>13% </a:t>
            </a:r>
            <a:r>
              <a:rPr lang="en-GB" sz="1100" dirty="0">
                <a:solidFill>
                  <a:srgbClr val="080808"/>
                </a:solidFill>
                <a:latin typeface="Calibri" pitchFamily="34" charset="0"/>
              </a:rPr>
              <a:t>of all projects into Africa and </a:t>
            </a:r>
            <a:r>
              <a:rPr lang="en-GB" sz="1100" dirty="0" smtClean="0">
                <a:solidFill>
                  <a:srgbClr val="080808"/>
                </a:solidFill>
                <a:latin typeface="Calibri" pitchFamily="34" charset="0"/>
              </a:rPr>
              <a:t>accounted </a:t>
            </a:r>
            <a:r>
              <a:rPr lang="en-GB" sz="1100" dirty="0">
                <a:solidFill>
                  <a:srgbClr val="080808"/>
                </a:solidFill>
                <a:latin typeface="Calibri" pitchFamily="34" charset="0"/>
              </a:rPr>
              <a:t>for </a:t>
            </a:r>
            <a:r>
              <a:rPr lang="en-GB" sz="1100" dirty="0" smtClean="0">
                <a:solidFill>
                  <a:srgbClr val="080808"/>
                </a:solidFill>
                <a:latin typeface="Calibri" pitchFamily="34" charset="0"/>
              </a:rPr>
              <a:t>44% </a:t>
            </a:r>
            <a:r>
              <a:rPr lang="en-GB" sz="1100" dirty="0">
                <a:solidFill>
                  <a:srgbClr val="080808"/>
                </a:solidFill>
                <a:latin typeface="Calibri" pitchFamily="34" charset="0"/>
              </a:rPr>
              <a:t>of capital invested</a:t>
            </a:r>
          </a:p>
        </p:txBody>
      </p:sp>
      <p:sp>
        <p:nvSpPr>
          <p:cNvPr id="15" name="Rectangle 14"/>
          <p:cNvSpPr/>
          <p:nvPr/>
        </p:nvSpPr>
        <p:spPr>
          <a:xfrm>
            <a:off x="396077" y="3685917"/>
            <a:ext cx="4364182" cy="307860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75000"/>
                  <a:shade val="30000"/>
                  <a:satMod val="115000"/>
                </a:schemeClr>
              </a:gs>
              <a:gs pos="50000">
                <a:schemeClr val="accent2">
                  <a:lumMod val="75000"/>
                  <a:shade val="67500"/>
                  <a:satMod val="115000"/>
                </a:schemeClr>
              </a:gs>
              <a:gs pos="100000">
                <a:schemeClr val="accent2">
                  <a:lumMod val="75000"/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% Share of top 5 FDI destinations, 2011 – 2015</a:t>
            </a:r>
            <a:r>
              <a:rPr lang="en-US" sz="1200" b="1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200" b="1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US$, </a:t>
            </a:r>
            <a:r>
              <a:rPr lang="en-US" sz="1200" b="1" dirty="0" err="1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n</a:t>
            </a:r>
            <a:r>
              <a:rPr lang="en-US" sz="1200" b="1" dirty="0" smtClean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endParaRPr lang="en-US" sz="1200" b="1" dirty="0">
              <a:solidFill>
                <a:prstClr val="whit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16" name="Chart 15"/>
          <p:cNvGraphicFramePr>
            <a:graphicFrameLocks/>
          </p:cNvGraphicFramePr>
          <p:nvPr>
            <p:extLst/>
          </p:nvPr>
        </p:nvGraphicFramePr>
        <p:xfrm>
          <a:off x="396078" y="3993778"/>
          <a:ext cx="4291446" cy="22303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7" name="Chart 16"/>
          <p:cNvGraphicFramePr>
            <a:graphicFrameLocks/>
          </p:cNvGraphicFramePr>
          <p:nvPr>
            <p:extLst/>
          </p:nvPr>
        </p:nvGraphicFramePr>
        <p:xfrm>
          <a:off x="5498707" y="1425387"/>
          <a:ext cx="3806658" cy="24144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jor sources of foreign capital inflows into Africa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8961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BEfVr4TxqZf0q5vSLNk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xkMxnsQlad54tgfpQa6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0EKpxwT1SM8EfHxE9ZM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nkPdaPRm2qapIab0U1o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zhoJ9NSYe1OoIM5A21e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WQlllyQRe1PixpUrykZ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8pN1I9BSnaCv2.rl95tW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UjKD4xR2aMwtIrjo9Et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Xq2A1TQ023d14BWUbEZ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T_UqmETWOWnJKmP8k1u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pD.xoiQSaQUF1jYMhkf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sRV.FXQEeJr0UJUL3Xb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Y3MdH_QaqmW.NFHWXLx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heme/theme1.xml><?xml version="1.0" encoding="utf-8"?>
<a:theme xmlns:a="http://schemas.openxmlformats.org/drawingml/2006/main" name="NIPC - Country Presentation - PPT 2007 (1)">
  <a:themeElements>
    <a:clrScheme name="Green">
      <a:dk1>
        <a:sysClr val="windowText" lastClr="000000"/>
      </a:dk1>
      <a:lt1>
        <a:sysClr val="window" lastClr="FFFFFF"/>
      </a:lt1>
      <a:dk2>
        <a:srgbClr val="455F51"/>
      </a:dk2>
      <a:lt2>
        <a:srgbClr val="E3DED1"/>
      </a:lt2>
      <a:accent1>
        <a:srgbClr val="549E39"/>
      </a:accent1>
      <a:accent2>
        <a:srgbClr val="8AB833"/>
      </a:accent2>
      <a:accent3>
        <a:srgbClr val="C0CF3A"/>
      </a:accent3>
      <a:accent4>
        <a:srgbClr val="029676"/>
      </a:accent4>
      <a:accent5>
        <a:srgbClr val="4AB5C4"/>
      </a:accent5>
      <a:accent6>
        <a:srgbClr val="0989B1"/>
      </a:accent6>
      <a:hlink>
        <a:srgbClr val="6B9F25"/>
      </a:hlink>
      <a:folHlink>
        <a:srgbClr val="BA6906"/>
      </a:folHlink>
    </a:clrScheme>
    <a:fontScheme name="On screen title pag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On screen title page 1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E7D8AC"/>
        </a:hlink>
        <a:folHlink>
          <a:srgbClr val="89D4E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2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89D4E3"/>
        </a:hlink>
        <a:folHlink>
          <a:srgbClr val="57431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3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89D4E3"/>
        </a:hlink>
        <a:folHlink>
          <a:srgbClr val="A592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4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DBC274"/>
        </a:accent1>
        <a:accent2>
          <a:srgbClr val="A59266"/>
        </a:accent2>
        <a:accent3>
          <a:srgbClr val="FFFFFF"/>
        </a:accent3>
        <a:accent4>
          <a:srgbClr val="012D67"/>
        </a:accent4>
        <a:accent5>
          <a:srgbClr val="EADDBC"/>
        </a:accent5>
        <a:accent6>
          <a:srgbClr val="95845C"/>
        </a:accent6>
        <a:hlink>
          <a:srgbClr val="B0C4CB"/>
        </a:hlink>
        <a:folHlink>
          <a:srgbClr val="9DB4B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5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89D4E3"/>
        </a:hlink>
        <a:folHlink>
          <a:srgbClr val="E4D29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6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89D4E3"/>
        </a:hlink>
        <a:folHlink>
          <a:srgbClr val="DDD5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7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89D4E3"/>
        </a:hlink>
        <a:folHlink>
          <a:srgbClr val="EEDB7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8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FA05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9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6D0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0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EEDB7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1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8D9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2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9DD8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3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5CB5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4">
        <a:dk1>
          <a:srgbClr val="02367A"/>
        </a:dk1>
        <a:lt1>
          <a:srgbClr val="FFFFFF"/>
        </a:lt1>
        <a:dk2>
          <a:srgbClr val="02367A"/>
        </a:dk2>
        <a:lt2>
          <a:srgbClr val="F9E09B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5CB5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5">
        <a:dk1>
          <a:srgbClr val="02367A"/>
        </a:dk1>
        <a:lt1>
          <a:srgbClr val="FFFFFF"/>
        </a:lt1>
        <a:dk2>
          <a:srgbClr val="02367A"/>
        </a:dk2>
        <a:lt2>
          <a:srgbClr val="808080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5CB5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6">
        <a:dk1>
          <a:srgbClr val="02367A"/>
        </a:dk1>
        <a:lt1>
          <a:srgbClr val="FFFFFF"/>
        </a:lt1>
        <a:dk2>
          <a:srgbClr val="02367A"/>
        </a:dk2>
        <a:lt2>
          <a:srgbClr val="808080"/>
        </a:lt2>
        <a:accent1>
          <a:srgbClr val="5D87A1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77B020"/>
        </a:accent6>
        <a:hlink>
          <a:srgbClr val="B1C3E1"/>
        </a:hlink>
        <a:folHlink>
          <a:srgbClr val="F5CB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NIPC - Country Presentation - PPT 2007 (1)">
  <a:themeElements>
    <a:clrScheme name="Green">
      <a:dk1>
        <a:sysClr val="windowText" lastClr="000000"/>
      </a:dk1>
      <a:lt1>
        <a:sysClr val="window" lastClr="FFFFFF"/>
      </a:lt1>
      <a:dk2>
        <a:srgbClr val="455F51"/>
      </a:dk2>
      <a:lt2>
        <a:srgbClr val="E3DED1"/>
      </a:lt2>
      <a:accent1>
        <a:srgbClr val="549E39"/>
      </a:accent1>
      <a:accent2>
        <a:srgbClr val="8AB833"/>
      </a:accent2>
      <a:accent3>
        <a:srgbClr val="C0CF3A"/>
      </a:accent3>
      <a:accent4>
        <a:srgbClr val="029676"/>
      </a:accent4>
      <a:accent5>
        <a:srgbClr val="4AB5C4"/>
      </a:accent5>
      <a:accent6>
        <a:srgbClr val="0989B1"/>
      </a:accent6>
      <a:hlink>
        <a:srgbClr val="6B9F25"/>
      </a:hlink>
      <a:folHlink>
        <a:srgbClr val="BA6906"/>
      </a:folHlink>
    </a:clrScheme>
    <a:fontScheme name="On screen title pag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On screen title page 1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E7D8AC"/>
        </a:hlink>
        <a:folHlink>
          <a:srgbClr val="89D4E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2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89D4E3"/>
        </a:hlink>
        <a:folHlink>
          <a:srgbClr val="57431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3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89D4E3"/>
        </a:hlink>
        <a:folHlink>
          <a:srgbClr val="A592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4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DBC274"/>
        </a:accent1>
        <a:accent2>
          <a:srgbClr val="A59266"/>
        </a:accent2>
        <a:accent3>
          <a:srgbClr val="FFFFFF"/>
        </a:accent3>
        <a:accent4>
          <a:srgbClr val="012D67"/>
        </a:accent4>
        <a:accent5>
          <a:srgbClr val="EADDBC"/>
        </a:accent5>
        <a:accent6>
          <a:srgbClr val="95845C"/>
        </a:accent6>
        <a:hlink>
          <a:srgbClr val="B0C4CB"/>
        </a:hlink>
        <a:folHlink>
          <a:srgbClr val="9DB4B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5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89D4E3"/>
        </a:hlink>
        <a:folHlink>
          <a:srgbClr val="E4D29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6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89D4E3"/>
        </a:hlink>
        <a:folHlink>
          <a:srgbClr val="DDD5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7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89D4E3"/>
        </a:hlink>
        <a:folHlink>
          <a:srgbClr val="EEDB7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8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FA05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9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6D0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0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EEDB7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1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8D9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2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9DD8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3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5CB5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4">
        <a:dk1>
          <a:srgbClr val="02367A"/>
        </a:dk1>
        <a:lt1>
          <a:srgbClr val="FFFFFF"/>
        </a:lt1>
        <a:dk2>
          <a:srgbClr val="02367A"/>
        </a:dk2>
        <a:lt2>
          <a:srgbClr val="F9E09B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5CB5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5">
        <a:dk1>
          <a:srgbClr val="02367A"/>
        </a:dk1>
        <a:lt1>
          <a:srgbClr val="FFFFFF"/>
        </a:lt1>
        <a:dk2>
          <a:srgbClr val="02367A"/>
        </a:dk2>
        <a:lt2>
          <a:srgbClr val="808080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5CB5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6">
        <a:dk1>
          <a:srgbClr val="02367A"/>
        </a:dk1>
        <a:lt1>
          <a:srgbClr val="FFFFFF"/>
        </a:lt1>
        <a:dk2>
          <a:srgbClr val="02367A"/>
        </a:dk2>
        <a:lt2>
          <a:srgbClr val="808080"/>
        </a:lt2>
        <a:accent1>
          <a:srgbClr val="5D87A1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77B020"/>
        </a:accent6>
        <a:hlink>
          <a:srgbClr val="B1C3E1"/>
        </a:hlink>
        <a:folHlink>
          <a:srgbClr val="F5CB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NIPC - Country Presentation - PPT 2007 (1)">
  <a:themeElements>
    <a:clrScheme name="Green">
      <a:dk1>
        <a:sysClr val="windowText" lastClr="000000"/>
      </a:dk1>
      <a:lt1>
        <a:sysClr val="window" lastClr="FFFFFF"/>
      </a:lt1>
      <a:dk2>
        <a:srgbClr val="455F51"/>
      </a:dk2>
      <a:lt2>
        <a:srgbClr val="E3DED1"/>
      </a:lt2>
      <a:accent1>
        <a:srgbClr val="549E39"/>
      </a:accent1>
      <a:accent2>
        <a:srgbClr val="8AB833"/>
      </a:accent2>
      <a:accent3>
        <a:srgbClr val="C0CF3A"/>
      </a:accent3>
      <a:accent4>
        <a:srgbClr val="029676"/>
      </a:accent4>
      <a:accent5>
        <a:srgbClr val="4AB5C4"/>
      </a:accent5>
      <a:accent6>
        <a:srgbClr val="0989B1"/>
      </a:accent6>
      <a:hlink>
        <a:srgbClr val="6B9F25"/>
      </a:hlink>
      <a:folHlink>
        <a:srgbClr val="BA6906"/>
      </a:folHlink>
    </a:clrScheme>
    <a:fontScheme name="On screen title pag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On screen title page 1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E7D8AC"/>
        </a:hlink>
        <a:folHlink>
          <a:srgbClr val="89D4E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2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89D4E3"/>
        </a:hlink>
        <a:folHlink>
          <a:srgbClr val="57431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3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89D4E3"/>
        </a:hlink>
        <a:folHlink>
          <a:srgbClr val="A592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4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DBC274"/>
        </a:accent1>
        <a:accent2>
          <a:srgbClr val="A59266"/>
        </a:accent2>
        <a:accent3>
          <a:srgbClr val="FFFFFF"/>
        </a:accent3>
        <a:accent4>
          <a:srgbClr val="012D67"/>
        </a:accent4>
        <a:accent5>
          <a:srgbClr val="EADDBC"/>
        </a:accent5>
        <a:accent6>
          <a:srgbClr val="95845C"/>
        </a:accent6>
        <a:hlink>
          <a:srgbClr val="B0C4CB"/>
        </a:hlink>
        <a:folHlink>
          <a:srgbClr val="9DB4B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5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89D4E3"/>
        </a:hlink>
        <a:folHlink>
          <a:srgbClr val="E4D29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6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89D4E3"/>
        </a:hlink>
        <a:folHlink>
          <a:srgbClr val="DDD5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7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89D4E3"/>
        </a:hlink>
        <a:folHlink>
          <a:srgbClr val="EEDB7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8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FA05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9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6D0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0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EEDB7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1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8D9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2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9DD8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3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5CB5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4">
        <a:dk1>
          <a:srgbClr val="02367A"/>
        </a:dk1>
        <a:lt1>
          <a:srgbClr val="FFFFFF"/>
        </a:lt1>
        <a:dk2>
          <a:srgbClr val="02367A"/>
        </a:dk2>
        <a:lt2>
          <a:srgbClr val="F9E09B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5CB5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5">
        <a:dk1>
          <a:srgbClr val="02367A"/>
        </a:dk1>
        <a:lt1>
          <a:srgbClr val="FFFFFF"/>
        </a:lt1>
        <a:dk2>
          <a:srgbClr val="02367A"/>
        </a:dk2>
        <a:lt2>
          <a:srgbClr val="808080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5CB5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6">
        <a:dk1>
          <a:srgbClr val="02367A"/>
        </a:dk1>
        <a:lt1>
          <a:srgbClr val="FFFFFF"/>
        </a:lt1>
        <a:dk2>
          <a:srgbClr val="02367A"/>
        </a:dk2>
        <a:lt2>
          <a:srgbClr val="808080"/>
        </a:lt2>
        <a:accent1>
          <a:srgbClr val="5D87A1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77B020"/>
        </a:accent6>
        <a:hlink>
          <a:srgbClr val="B1C3E1"/>
        </a:hlink>
        <a:folHlink>
          <a:srgbClr val="F5CB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_NIPC - Country Presentation - PPT 2007 (1)">
  <a:themeElements>
    <a:clrScheme name="Green">
      <a:dk1>
        <a:sysClr val="windowText" lastClr="000000"/>
      </a:dk1>
      <a:lt1>
        <a:sysClr val="window" lastClr="FFFFFF"/>
      </a:lt1>
      <a:dk2>
        <a:srgbClr val="455F51"/>
      </a:dk2>
      <a:lt2>
        <a:srgbClr val="E3DED1"/>
      </a:lt2>
      <a:accent1>
        <a:srgbClr val="549E39"/>
      </a:accent1>
      <a:accent2>
        <a:srgbClr val="8AB833"/>
      </a:accent2>
      <a:accent3>
        <a:srgbClr val="C0CF3A"/>
      </a:accent3>
      <a:accent4>
        <a:srgbClr val="029676"/>
      </a:accent4>
      <a:accent5>
        <a:srgbClr val="4AB5C4"/>
      </a:accent5>
      <a:accent6>
        <a:srgbClr val="0989B1"/>
      </a:accent6>
      <a:hlink>
        <a:srgbClr val="6B9F25"/>
      </a:hlink>
      <a:folHlink>
        <a:srgbClr val="BA6906"/>
      </a:folHlink>
    </a:clrScheme>
    <a:fontScheme name="On screen title pag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On screen title page 1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E7D8AC"/>
        </a:hlink>
        <a:folHlink>
          <a:srgbClr val="89D4E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2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89D4E3"/>
        </a:hlink>
        <a:folHlink>
          <a:srgbClr val="57431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3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89D4E3"/>
        </a:hlink>
        <a:folHlink>
          <a:srgbClr val="A592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4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DBC274"/>
        </a:accent1>
        <a:accent2>
          <a:srgbClr val="A59266"/>
        </a:accent2>
        <a:accent3>
          <a:srgbClr val="FFFFFF"/>
        </a:accent3>
        <a:accent4>
          <a:srgbClr val="012D67"/>
        </a:accent4>
        <a:accent5>
          <a:srgbClr val="EADDBC"/>
        </a:accent5>
        <a:accent6>
          <a:srgbClr val="95845C"/>
        </a:accent6>
        <a:hlink>
          <a:srgbClr val="B0C4CB"/>
        </a:hlink>
        <a:folHlink>
          <a:srgbClr val="9DB4B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5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89D4E3"/>
        </a:hlink>
        <a:folHlink>
          <a:srgbClr val="E4D29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6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89D4E3"/>
        </a:hlink>
        <a:folHlink>
          <a:srgbClr val="DDD5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7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89D4E3"/>
        </a:hlink>
        <a:folHlink>
          <a:srgbClr val="EEDB7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8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FA05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9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6D0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0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EEDB7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1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8D9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2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9DD8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3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5CB5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4">
        <a:dk1>
          <a:srgbClr val="02367A"/>
        </a:dk1>
        <a:lt1>
          <a:srgbClr val="FFFFFF"/>
        </a:lt1>
        <a:dk2>
          <a:srgbClr val="02367A"/>
        </a:dk2>
        <a:lt2>
          <a:srgbClr val="F9E09B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5CB5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5">
        <a:dk1>
          <a:srgbClr val="02367A"/>
        </a:dk1>
        <a:lt1>
          <a:srgbClr val="FFFFFF"/>
        </a:lt1>
        <a:dk2>
          <a:srgbClr val="02367A"/>
        </a:dk2>
        <a:lt2>
          <a:srgbClr val="808080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5CB5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6">
        <a:dk1>
          <a:srgbClr val="02367A"/>
        </a:dk1>
        <a:lt1>
          <a:srgbClr val="FFFFFF"/>
        </a:lt1>
        <a:dk2>
          <a:srgbClr val="02367A"/>
        </a:dk2>
        <a:lt2>
          <a:srgbClr val="808080"/>
        </a:lt2>
        <a:accent1>
          <a:srgbClr val="5D87A1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77B020"/>
        </a:accent6>
        <a:hlink>
          <a:srgbClr val="B1C3E1"/>
        </a:hlink>
        <a:folHlink>
          <a:srgbClr val="F5CB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4_NIPC - Country Presentation - PPT 2007 (1)">
  <a:themeElements>
    <a:clrScheme name="Green">
      <a:dk1>
        <a:sysClr val="windowText" lastClr="000000"/>
      </a:dk1>
      <a:lt1>
        <a:sysClr val="window" lastClr="FFFFFF"/>
      </a:lt1>
      <a:dk2>
        <a:srgbClr val="455F51"/>
      </a:dk2>
      <a:lt2>
        <a:srgbClr val="E3DED1"/>
      </a:lt2>
      <a:accent1>
        <a:srgbClr val="549E39"/>
      </a:accent1>
      <a:accent2>
        <a:srgbClr val="8AB833"/>
      </a:accent2>
      <a:accent3>
        <a:srgbClr val="C0CF3A"/>
      </a:accent3>
      <a:accent4>
        <a:srgbClr val="029676"/>
      </a:accent4>
      <a:accent5>
        <a:srgbClr val="4AB5C4"/>
      </a:accent5>
      <a:accent6>
        <a:srgbClr val="0989B1"/>
      </a:accent6>
      <a:hlink>
        <a:srgbClr val="6B9F25"/>
      </a:hlink>
      <a:folHlink>
        <a:srgbClr val="BA6906"/>
      </a:folHlink>
    </a:clrScheme>
    <a:fontScheme name="On screen title pag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On screen title page 1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E7D8AC"/>
        </a:hlink>
        <a:folHlink>
          <a:srgbClr val="89D4E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2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89D4E3"/>
        </a:hlink>
        <a:folHlink>
          <a:srgbClr val="57431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3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89D4E3"/>
        </a:hlink>
        <a:folHlink>
          <a:srgbClr val="A592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4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DBC274"/>
        </a:accent1>
        <a:accent2>
          <a:srgbClr val="A59266"/>
        </a:accent2>
        <a:accent3>
          <a:srgbClr val="FFFFFF"/>
        </a:accent3>
        <a:accent4>
          <a:srgbClr val="012D67"/>
        </a:accent4>
        <a:accent5>
          <a:srgbClr val="EADDBC"/>
        </a:accent5>
        <a:accent6>
          <a:srgbClr val="95845C"/>
        </a:accent6>
        <a:hlink>
          <a:srgbClr val="B0C4CB"/>
        </a:hlink>
        <a:folHlink>
          <a:srgbClr val="9DB4B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5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89D4E3"/>
        </a:hlink>
        <a:folHlink>
          <a:srgbClr val="E4D29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6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89D4E3"/>
        </a:hlink>
        <a:folHlink>
          <a:srgbClr val="DDD5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7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89D4E3"/>
        </a:hlink>
        <a:folHlink>
          <a:srgbClr val="EEDB7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8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FA05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9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6D0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0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EEDB7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1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8D9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2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9DD8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3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5CB5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4">
        <a:dk1>
          <a:srgbClr val="02367A"/>
        </a:dk1>
        <a:lt1>
          <a:srgbClr val="FFFFFF"/>
        </a:lt1>
        <a:dk2>
          <a:srgbClr val="02367A"/>
        </a:dk2>
        <a:lt2>
          <a:srgbClr val="F9E09B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5CB5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5">
        <a:dk1>
          <a:srgbClr val="02367A"/>
        </a:dk1>
        <a:lt1>
          <a:srgbClr val="FFFFFF"/>
        </a:lt1>
        <a:dk2>
          <a:srgbClr val="02367A"/>
        </a:dk2>
        <a:lt2>
          <a:srgbClr val="808080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5CB5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6">
        <a:dk1>
          <a:srgbClr val="02367A"/>
        </a:dk1>
        <a:lt1>
          <a:srgbClr val="FFFFFF"/>
        </a:lt1>
        <a:dk2>
          <a:srgbClr val="02367A"/>
        </a:dk2>
        <a:lt2>
          <a:srgbClr val="808080"/>
        </a:lt2>
        <a:accent1>
          <a:srgbClr val="5D87A1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77B020"/>
        </a:accent6>
        <a:hlink>
          <a:srgbClr val="B1C3E1"/>
        </a:hlink>
        <a:folHlink>
          <a:srgbClr val="F5CB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5_NIPC - Country Presentation - PPT 2007 (1)">
  <a:themeElements>
    <a:clrScheme name="Green">
      <a:dk1>
        <a:sysClr val="windowText" lastClr="000000"/>
      </a:dk1>
      <a:lt1>
        <a:sysClr val="window" lastClr="FFFFFF"/>
      </a:lt1>
      <a:dk2>
        <a:srgbClr val="455F51"/>
      </a:dk2>
      <a:lt2>
        <a:srgbClr val="E3DED1"/>
      </a:lt2>
      <a:accent1>
        <a:srgbClr val="549E39"/>
      </a:accent1>
      <a:accent2>
        <a:srgbClr val="8AB833"/>
      </a:accent2>
      <a:accent3>
        <a:srgbClr val="C0CF3A"/>
      </a:accent3>
      <a:accent4>
        <a:srgbClr val="029676"/>
      </a:accent4>
      <a:accent5>
        <a:srgbClr val="4AB5C4"/>
      </a:accent5>
      <a:accent6>
        <a:srgbClr val="0989B1"/>
      </a:accent6>
      <a:hlink>
        <a:srgbClr val="6B9F25"/>
      </a:hlink>
      <a:folHlink>
        <a:srgbClr val="BA6906"/>
      </a:folHlink>
    </a:clrScheme>
    <a:fontScheme name="On screen title pag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On screen title page 1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E7D8AC"/>
        </a:hlink>
        <a:folHlink>
          <a:srgbClr val="89D4E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2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89D4E3"/>
        </a:hlink>
        <a:folHlink>
          <a:srgbClr val="57431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3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89D4E3"/>
        </a:hlink>
        <a:folHlink>
          <a:srgbClr val="A592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4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DBC274"/>
        </a:accent1>
        <a:accent2>
          <a:srgbClr val="A59266"/>
        </a:accent2>
        <a:accent3>
          <a:srgbClr val="FFFFFF"/>
        </a:accent3>
        <a:accent4>
          <a:srgbClr val="012D67"/>
        </a:accent4>
        <a:accent5>
          <a:srgbClr val="EADDBC"/>
        </a:accent5>
        <a:accent6>
          <a:srgbClr val="95845C"/>
        </a:accent6>
        <a:hlink>
          <a:srgbClr val="B0C4CB"/>
        </a:hlink>
        <a:folHlink>
          <a:srgbClr val="9DB4B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5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89D4E3"/>
        </a:hlink>
        <a:folHlink>
          <a:srgbClr val="E4D29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6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89D4E3"/>
        </a:hlink>
        <a:folHlink>
          <a:srgbClr val="DDD5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7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89D4E3"/>
        </a:hlink>
        <a:folHlink>
          <a:srgbClr val="EEDB7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8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FA05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9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6D0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0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EEDB7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1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8D9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2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9DD8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3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5CB5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4">
        <a:dk1>
          <a:srgbClr val="02367A"/>
        </a:dk1>
        <a:lt1>
          <a:srgbClr val="FFFFFF"/>
        </a:lt1>
        <a:dk2>
          <a:srgbClr val="02367A"/>
        </a:dk2>
        <a:lt2>
          <a:srgbClr val="F9E09B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5CB5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5">
        <a:dk1>
          <a:srgbClr val="02367A"/>
        </a:dk1>
        <a:lt1>
          <a:srgbClr val="FFFFFF"/>
        </a:lt1>
        <a:dk2>
          <a:srgbClr val="02367A"/>
        </a:dk2>
        <a:lt2>
          <a:srgbClr val="808080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5CB5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6">
        <a:dk1>
          <a:srgbClr val="02367A"/>
        </a:dk1>
        <a:lt1>
          <a:srgbClr val="FFFFFF"/>
        </a:lt1>
        <a:dk2>
          <a:srgbClr val="02367A"/>
        </a:dk2>
        <a:lt2>
          <a:srgbClr val="808080"/>
        </a:lt2>
        <a:accent1>
          <a:srgbClr val="5D87A1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77B020"/>
        </a:accent6>
        <a:hlink>
          <a:srgbClr val="B1C3E1"/>
        </a:hlink>
        <a:folHlink>
          <a:srgbClr val="F5CB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6_NIPC - Country Presentation - PPT 2007 (1)">
  <a:themeElements>
    <a:clrScheme name="Green">
      <a:dk1>
        <a:sysClr val="windowText" lastClr="000000"/>
      </a:dk1>
      <a:lt1>
        <a:sysClr val="window" lastClr="FFFFFF"/>
      </a:lt1>
      <a:dk2>
        <a:srgbClr val="455F51"/>
      </a:dk2>
      <a:lt2>
        <a:srgbClr val="E3DED1"/>
      </a:lt2>
      <a:accent1>
        <a:srgbClr val="549E39"/>
      </a:accent1>
      <a:accent2>
        <a:srgbClr val="8AB833"/>
      </a:accent2>
      <a:accent3>
        <a:srgbClr val="C0CF3A"/>
      </a:accent3>
      <a:accent4>
        <a:srgbClr val="029676"/>
      </a:accent4>
      <a:accent5>
        <a:srgbClr val="4AB5C4"/>
      </a:accent5>
      <a:accent6>
        <a:srgbClr val="0989B1"/>
      </a:accent6>
      <a:hlink>
        <a:srgbClr val="6B9F25"/>
      </a:hlink>
      <a:folHlink>
        <a:srgbClr val="BA6906"/>
      </a:folHlink>
    </a:clrScheme>
    <a:fontScheme name="On screen title pag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On screen title page 1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E7D8AC"/>
        </a:hlink>
        <a:folHlink>
          <a:srgbClr val="89D4E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2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89D4E3"/>
        </a:hlink>
        <a:folHlink>
          <a:srgbClr val="57431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3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89D4E3"/>
        </a:hlink>
        <a:folHlink>
          <a:srgbClr val="A592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4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DBC274"/>
        </a:accent1>
        <a:accent2>
          <a:srgbClr val="A59266"/>
        </a:accent2>
        <a:accent3>
          <a:srgbClr val="FFFFFF"/>
        </a:accent3>
        <a:accent4>
          <a:srgbClr val="012D67"/>
        </a:accent4>
        <a:accent5>
          <a:srgbClr val="EADDBC"/>
        </a:accent5>
        <a:accent6>
          <a:srgbClr val="95845C"/>
        </a:accent6>
        <a:hlink>
          <a:srgbClr val="B0C4CB"/>
        </a:hlink>
        <a:folHlink>
          <a:srgbClr val="9DB4B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5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89D4E3"/>
        </a:hlink>
        <a:folHlink>
          <a:srgbClr val="E4D29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6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89D4E3"/>
        </a:hlink>
        <a:folHlink>
          <a:srgbClr val="DDD5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7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89D4E3"/>
        </a:hlink>
        <a:folHlink>
          <a:srgbClr val="EEDB7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8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FA05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9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6D0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0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EEDB7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1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8D9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2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9DD8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3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5CB5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4">
        <a:dk1>
          <a:srgbClr val="02367A"/>
        </a:dk1>
        <a:lt1>
          <a:srgbClr val="FFFFFF"/>
        </a:lt1>
        <a:dk2>
          <a:srgbClr val="02367A"/>
        </a:dk2>
        <a:lt2>
          <a:srgbClr val="F9E09B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5CB5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5">
        <a:dk1>
          <a:srgbClr val="02367A"/>
        </a:dk1>
        <a:lt1>
          <a:srgbClr val="FFFFFF"/>
        </a:lt1>
        <a:dk2>
          <a:srgbClr val="02367A"/>
        </a:dk2>
        <a:lt2>
          <a:srgbClr val="808080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5CB5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6">
        <a:dk1>
          <a:srgbClr val="02367A"/>
        </a:dk1>
        <a:lt1>
          <a:srgbClr val="FFFFFF"/>
        </a:lt1>
        <a:dk2>
          <a:srgbClr val="02367A"/>
        </a:dk2>
        <a:lt2>
          <a:srgbClr val="808080"/>
        </a:lt2>
        <a:accent1>
          <a:srgbClr val="5D87A1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77B020"/>
        </a:accent6>
        <a:hlink>
          <a:srgbClr val="B1C3E1"/>
        </a:hlink>
        <a:folHlink>
          <a:srgbClr val="F5CB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7_NIPC - Country Presentation - PPT 2007 (1)">
  <a:themeElements>
    <a:clrScheme name="Green">
      <a:dk1>
        <a:sysClr val="windowText" lastClr="000000"/>
      </a:dk1>
      <a:lt1>
        <a:sysClr val="window" lastClr="FFFFFF"/>
      </a:lt1>
      <a:dk2>
        <a:srgbClr val="455F51"/>
      </a:dk2>
      <a:lt2>
        <a:srgbClr val="E3DED1"/>
      </a:lt2>
      <a:accent1>
        <a:srgbClr val="549E39"/>
      </a:accent1>
      <a:accent2>
        <a:srgbClr val="8AB833"/>
      </a:accent2>
      <a:accent3>
        <a:srgbClr val="C0CF3A"/>
      </a:accent3>
      <a:accent4>
        <a:srgbClr val="029676"/>
      </a:accent4>
      <a:accent5>
        <a:srgbClr val="4AB5C4"/>
      </a:accent5>
      <a:accent6>
        <a:srgbClr val="0989B1"/>
      </a:accent6>
      <a:hlink>
        <a:srgbClr val="6B9F25"/>
      </a:hlink>
      <a:folHlink>
        <a:srgbClr val="BA6906"/>
      </a:folHlink>
    </a:clrScheme>
    <a:fontScheme name="On screen title pag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On screen title page 1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E7D8AC"/>
        </a:hlink>
        <a:folHlink>
          <a:srgbClr val="89D4E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2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89D4E3"/>
        </a:hlink>
        <a:folHlink>
          <a:srgbClr val="57431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3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89D4E3"/>
        </a:hlink>
        <a:folHlink>
          <a:srgbClr val="A592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4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DBC274"/>
        </a:accent1>
        <a:accent2>
          <a:srgbClr val="A59266"/>
        </a:accent2>
        <a:accent3>
          <a:srgbClr val="FFFFFF"/>
        </a:accent3>
        <a:accent4>
          <a:srgbClr val="012D67"/>
        </a:accent4>
        <a:accent5>
          <a:srgbClr val="EADDBC"/>
        </a:accent5>
        <a:accent6>
          <a:srgbClr val="95845C"/>
        </a:accent6>
        <a:hlink>
          <a:srgbClr val="B0C4CB"/>
        </a:hlink>
        <a:folHlink>
          <a:srgbClr val="9DB4B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5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89D4E3"/>
        </a:hlink>
        <a:folHlink>
          <a:srgbClr val="E4D29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6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89D4E3"/>
        </a:hlink>
        <a:folHlink>
          <a:srgbClr val="DDD5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7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89D4E3"/>
        </a:hlink>
        <a:folHlink>
          <a:srgbClr val="EEDB7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8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FA05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9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6D0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0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EEDB7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1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8D9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2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9DD8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3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5CB5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4">
        <a:dk1>
          <a:srgbClr val="02367A"/>
        </a:dk1>
        <a:lt1>
          <a:srgbClr val="FFFFFF"/>
        </a:lt1>
        <a:dk2>
          <a:srgbClr val="02367A"/>
        </a:dk2>
        <a:lt2>
          <a:srgbClr val="F9E09B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5CB5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5">
        <a:dk1>
          <a:srgbClr val="02367A"/>
        </a:dk1>
        <a:lt1>
          <a:srgbClr val="FFFFFF"/>
        </a:lt1>
        <a:dk2>
          <a:srgbClr val="02367A"/>
        </a:dk2>
        <a:lt2>
          <a:srgbClr val="808080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5CB5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6">
        <a:dk1>
          <a:srgbClr val="02367A"/>
        </a:dk1>
        <a:lt1>
          <a:srgbClr val="FFFFFF"/>
        </a:lt1>
        <a:dk2>
          <a:srgbClr val="02367A"/>
        </a:dk2>
        <a:lt2>
          <a:srgbClr val="808080"/>
        </a:lt2>
        <a:accent1>
          <a:srgbClr val="5D87A1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77B020"/>
        </a:accent6>
        <a:hlink>
          <a:srgbClr val="B1C3E1"/>
        </a:hlink>
        <a:folHlink>
          <a:srgbClr val="F5CB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8_NIPC - Country Presentation - PPT 2007 (1)">
  <a:themeElements>
    <a:clrScheme name="Green">
      <a:dk1>
        <a:sysClr val="windowText" lastClr="000000"/>
      </a:dk1>
      <a:lt1>
        <a:sysClr val="window" lastClr="FFFFFF"/>
      </a:lt1>
      <a:dk2>
        <a:srgbClr val="455F51"/>
      </a:dk2>
      <a:lt2>
        <a:srgbClr val="E3DED1"/>
      </a:lt2>
      <a:accent1>
        <a:srgbClr val="549E39"/>
      </a:accent1>
      <a:accent2>
        <a:srgbClr val="8AB833"/>
      </a:accent2>
      <a:accent3>
        <a:srgbClr val="C0CF3A"/>
      </a:accent3>
      <a:accent4>
        <a:srgbClr val="029676"/>
      </a:accent4>
      <a:accent5>
        <a:srgbClr val="4AB5C4"/>
      </a:accent5>
      <a:accent6>
        <a:srgbClr val="0989B1"/>
      </a:accent6>
      <a:hlink>
        <a:srgbClr val="6B9F25"/>
      </a:hlink>
      <a:folHlink>
        <a:srgbClr val="BA6906"/>
      </a:folHlink>
    </a:clrScheme>
    <a:fontScheme name="On screen title pag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On screen title page 1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E7D8AC"/>
        </a:hlink>
        <a:folHlink>
          <a:srgbClr val="89D4E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2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89D4E3"/>
        </a:hlink>
        <a:folHlink>
          <a:srgbClr val="57431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3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89D4E3"/>
        </a:hlink>
        <a:folHlink>
          <a:srgbClr val="A592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4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DBC274"/>
        </a:accent1>
        <a:accent2>
          <a:srgbClr val="A59266"/>
        </a:accent2>
        <a:accent3>
          <a:srgbClr val="FFFFFF"/>
        </a:accent3>
        <a:accent4>
          <a:srgbClr val="012D67"/>
        </a:accent4>
        <a:accent5>
          <a:srgbClr val="EADDBC"/>
        </a:accent5>
        <a:accent6>
          <a:srgbClr val="95845C"/>
        </a:accent6>
        <a:hlink>
          <a:srgbClr val="B0C4CB"/>
        </a:hlink>
        <a:folHlink>
          <a:srgbClr val="9DB4B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5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89D4E3"/>
        </a:hlink>
        <a:folHlink>
          <a:srgbClr val="E4D29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6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89D4E3"/>
        </a:hlink>
        <a:folHlink>
          <a:srgbClr val="DDD5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7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A1"/>
        </a:accent1>
        <a:accent2>
          <a:srgbClr val="C5960C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B2870A"/>
        </a:accent6>
        <a:hlink>
          <a:srgbClr val="89D4E3"/>
        </a:hlink>
        <a:folHlink>
          <a:srgbClr val="EEDB7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8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FA05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9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6D0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0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EEDB7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1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8D9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2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9DD8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3">
        <a:dk1>
          <a:srgbClr val="02367A"/>
        </a:dk1>
        <a:lt1>
          <a:srgbClr val="FFFFFF"/>
        </a:lt1>
        <a:dk2>
          <a:srgbClr val="02367A"/>
        </a:dk2>
        <a:lt2>
          <a:srgbClr val="FFFFFF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5CB5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4">
        <a:dk1>
          <a:srgbClr val="02367A"/>
        </a:dk1>
        <a:lt1>
          <a:srgbClr val="FFFFFF"/>
        </a:lt1>
        <a:dk2>
          <a:srgbClr val="02367A"/>
        </a:dk2>
        <a:lt2>
          <a:srgbClr val="F9E09B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5CB5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5">
        <a:dk1>
          <a:srgbClr val="02367A"/>
        </a:dk1>
        <a:lt1>
          <a:srgbClr val="FFFFFF"/>
        </a:lt1>
        <a:dk2>
          <a:srgbClr val="02367A"/>
        </a:dk2>
        <a:lt2>
          <a:srgbClr val="808080"/>
        </a:lt2>
        <a:accent1>
          <a:srgbClr val="5D87B5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D7"/>
        </a:accent5>
        <a:accent6>
          <a:srgbClr val="77B020"/>
        </a:accent6>
        <a:hlink>
          <a:srgbClr val="B1C3E1"/>
        </a:hlink>
        <a:folHlink>
          <a:srgbClr val="F5CB5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n screen title page 16">
        <a:dk1>
          <a:srgbClr val="02367A"/>
        </a:dk1>
        <a:lt1>
          <a:srgbClr val="FFFFFF"/>
        </a:lt1>
        <a:dk2>
          <a:srgbClr val="02367A"/>
        </a:dk2>
        <a:lt2>
          <a:srgbClr val="808080"/>
        </a:lt2>
        <a:accent1>
          <a:srgbClr val="5D87A1"/>
        </a:accent1>
        <a:accent2>
          <a:srgbClr val="84C225"/>
        </a:accent2>
        <a:accent3>
          <a:srgbClr val="FFFFFF"/>
        </a:accent3>
        <a:accent4>
          <a:srgbClr val="012D67"/>
        </a:accent4>
        <a:accent5>
          <a:srgbClr val="B6C3CD"/>
        </a:accent5>
        <a:accent6>
          <a:srgbClr val="77B020"/>
        </a:accent6>
        <a:hlink>
          <a:srgbClr val="B1C3E1"/>
        </a:hlink>
        <a:folHlink>
          <a:srgbClr val="F5CB5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Override1.xml><?xml version="1.0" encoding="utf-8"?>
<a:themeOverride xmlns:a="http://schemas.openxmlformats.org/drawingml/2006/main">
  <a:clrScheme name="Current">
    <a:dk1>
      <a:srgbClr val="000000"/>
    </a:dk1>
    <a:lt1>
      <a:srgbClr val="FFFFFF"/>
    </a:lt1>
    <a:dk2>
      <a:srgbClr val="3D3D3D"/>
    </a:dk2>
    <a:lt2>
      <a:srgbClr val="EBEBEB"/>
    </a:lt2>
    <a:accent1>
      <a:srgbClr val="BAD392"/>
    </a:accent1>
    <a:accent2>
      <a:srgbClr val="81A743"/>
    </a:accent2>
    <a:accent3>
      <a:srgbClr val="698837"/>
    </a:accent3>
    <a:accent4>
      <a:srgbClr val="3E5020"/>
    </a:accent4>
    <a:accent5>
      <a:srgbClr val="A1561F"/>
    </a:accent5>
    <a:accent6>
      <a:srgbClr val="808080"/>
    </a:accent6>
    <a:hlink>
      <a:srgbClr val="698837"/>
    </a:hlink>
    <a:folHlink>
      <a:srgbClr val="3E5020"/>
    </a:folHlink>
  </a:clrScheme>
  <a:fontScheme name="Custom 26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Current">
    <a:dk1>
      <a:srgbClr val="000000"/>
    </a:dk1>
    <a:lt1>
      <a:srgbClr val="FFFFFF"/>
    </a:lt1>
    <a:dk2>
      <a:srgbClr val="3D3D3D"/>
    </a:dk2>
    <a:lt2>
      <a:srgbClr val="EBEBEB"/>
    </a:lt2>
    <a:accent1>
      <a:srgbClr val="BAD392"/>
    </a:accent1>
    <a:accent2>
      <a:srgbClr val="81A743"/>
    </a:accent2>
    <a:accent3>
      <a:srgbClr val="698837"/>
    </a:accent3>
    <a:accent4>
      <a:srgbClr val="3E5020"/>
    </a:accent4>
    <a:accent5>
      <a:srgbClr val="A1561F"/>
    </a:accent5>
    <a:accent6>
      <a:srgbClr val="808080"/>
    </a:accent6>
    <a:hlink>
      <a:srgbClr val="698837"/>
    </a:hlink>
    <a:folHlink>
      <a:srgbClr val="3E5020"/>
    </a:folHlink>
  </a:clrScheme>
  <a:fontScheme name="Custom 26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70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1495898C-D088-9B4D-82B1-D1B4577CC774}">
  <we:reference id="wa104178141" version="3.0.9.11" store="en-US" storeType="OMEX"/>
  <we:alternateReferences>
    <we:reference id="WA104178141" version="3.0.9.11" store="WA104178141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3960166F312214983394553EDA3F84F" ma:contentTypeVersion="2" ma:contentTypeDescription="Create a new document." ma:contentTypeScope="" ma:versionID="56355a04fc97e52965632d331fbe9dcc">
  <xsd:schema xmlns:xsd="http://www.w3.org/2001/XMLSchema" xmlns:p="http://schemas.microsoft.com/office/2006/metadata/properties" xmlns:ns1="http://schemas.microsoft.com/sharepoint/v3" targetNamespace="http://schemas.microsoft.com/office/2006/metadata/properties" ma:root="true" ma:fieldsID="6284820424daa6e8e94fd25537b32255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http://schemas.microsoft.com/sharepoint/v3" elementFormDefault="qualified">
    <xsd:import namespace="http://schemas.microsoft.com/office/2006/documentManagement/types"/>
    <xsd:element name="PublishingStartDate" ma:index="8" nillable="true" ma:displayName="Scheduling Start Date" ma:description="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Props1.xml><?xml version="1.0" encoding="utf-8"?>
<ds:datastoreItem xmlns:ds="http://schemas.openxmlformats.org/officeDocument/2006/customXml" ds:itemID="{72472D24-E00A-4C7A-AA47-F6252BC112A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BF3B2A4-E950-45FB-8966-EA660B383867}">
  <ds:schemaRefs>
    <ds:schemaRef ds:uri="http://purl.org/dc/elements/1.1/"/>
    <ds:schemaRef ds:uri="http://schemas.microsoft.com/office/2006/documentManagement/types"/>
    <ds:schemaRef ds:uri="http://schemas.microsoft.com/sharepoint/v3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B9C8CFF1-65B7-4011-A02B-1E4451616A3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5023</TotalTime>
  <Words>1623</Words>
  <Application>Microsoft Office PowerPoint</Application>
  <PresentationFormat>A4 Paper (210x297 mm)</PresentationFormat>
  <Paragraphs>320</Paragraphs>
  <Slides>19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9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9</vt:i4>
      </vt:variant>
    </vt:vector>
  </HeadingPairs>
  <TitlesOfParts>
    <vt:vector size="30" baseType="lpstr">
      <vt:lpstr>NIPC - Country Presentation - PPT 2007 (1)</vt:lpstr>
      <vt:lpstr>1_NIPC - Country Presentation - PPT 2007 (1)</vt:lpstr>
      <vt:lpstr>2_NIPC - Country Presentation - PPT 2007 (1)</vt:lpstr>
      <vt:lpstr>3_NIPC - Country Presentation - PPT 2007 (1)</vt:lpstr>
      <vt:lpstr>4_NIPC - Country Presentation - PPT 2007 (1)</vt:lpstr>
      <vt:lpstr>5_NIPC - Country Presentation - PPT 2007 (1)</vt:lpstr>
      <vt:lpstr>6_NIPC - Country Presentation - PPT 2007 (1)</vt:lpstr>
      <vt:lpstr>7_NIPC - Country Presentation - PPT 2007 (1)</vt:lpstr>
      <vt:lpstr>8_NIPC - Country Presentation - PPT 2007 (1)</vt:lpstr>
      <vt:lpstr>think-cell Slide</vt:lpstr>
      <vt:lpstr>Chart</vt:lpstr>
      <vt:lpstr>UPDATES ON THE ACTIVITIES OF NIPC</vt:lpstr>
      <vt:lpstr>Nigeria’s Business Climate  </vt:lpstr>
      <vt:lpstr>National investment laws</vt:lpstr>
      <vt:lpstr>Strategic Role of NIPC in the Nigerian Economy</vt:lpstr>
      <vt:lpstr>Business entry scenarios at NIPC’s One-Stop Investment Centre (OSIC)</vt:lpstr>
      <vt:lpstr>Nigeria is considered a difficult place to do business</vt:lpstr>
      <vt:lpstr>PowerPoint Presentation</vt:lpstr>
      <vt:lpstr>Strong correlation between “Ease of Doing Business” and economic prosperity</vt:lpstr>
      <vt:lpstr>Major sources of foreign capital inflows into Africa </vt:lpstr>
      <vt:lpstr>Top recipients of FDI in Africa</vt:lpstr>
      <vt:lpstr>Despite the challenges, Nigeria is a key strategic market in Africa</vt:lpstr>
      <vt:lpstr>Policy Thrust of Government  </vt:lpstr>
      <vt:lpstr>PEBEC</vt:lpstr>
      <vt:lpstr>PEBEC: Scorecard</vt:lpstr>
      <vt:lpstr> The Economic Recovery and Growth Plan is organized around 5 thematic areas and builds on the 2016 Strategic Implementation Plan    </vt:lpstr>
      <vt:lpstr>NIPC has a well articulated Strategy to promote significant investment to create job/wealth  </vt:lpstr>
      <vt:lpstr>Strategic Focus: 2017   </vt:lpstr>
      <vt:lpstr>Strategic Focus: 2017   </vt:lpstr>
      <vt:lpstr>PowerPoint Presentation</vt:lpstr>
    </vt:vector>
  </TitlesOfParts>
  <Company>SIH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slide – for printed pitch books only</dc:title>
  <dc:creator>Teng Ben</dc:creator>
  <cp:lastModifiedBy>PC</cp:lastModifiedBy>
  <cp:revision>4027</cp:revision>
  <cp:lastPrinted>2017-04-13T18:32:55Z</cp:lastPrinted>
  <dcterms:created xsi:type="dcterms:W3CDTF">2010-12-01T10:18:10Z</dcterms:created>
  <dcterms:modified xsi:type="dcterms:W3CDTF">2017-05-09T08:17:38Z</dcterms:modified>
  <cp:category>Standard Bank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3960166F312214983394553EDA3F84F</vt:lpwstr>
  </property>
</Properties>
</file>